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4"/>
  </p:notesMasterIdLst>
  <p:handoutMasterIdLst>
    <p:handoutMasterId r:id="rId15"/>
  </p:handoutMasterIdLst>
  <p:sldIdLst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CEC"/>
    <a:srgbClr val="FCECE7"/>
    <a:srgbClr val="333333"/>
    <a:srgbClr val="F44D47"/>
    <a:srgbClr val="666666"/>
    <a:srgbClr val="E32119"/>
    <a:srgbClr val="000000"/>
    <a:srgbClr val="FDC304"/>
    <a:srgbClr val="82CBD4"/>
    <a:srgbClr val="95C12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3F2BB3-EF67-4A67-8199-D222D1515EB0}" v="22" dt="2025-02-20T15:23:24.3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70" d="100"/>
          <a:sy n="70" d="100"/>
        </p:scale>
        <p:origin x="5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51-4FF4-B8DD-0042DE42FAE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51-4FF4-B8DD-0042DE42FA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51-4FF4-B8DD-0042DE42F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0/0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0/02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image" Target="../media/image42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47.png"/><Relationship Id="rId3" Type="http://schemas.openxmlformats.org/officeDocument/2006/relationships/tags" Target="../tags/tag4.xml"/><Relationship Id="rId21" Type="http://schemas.openxmlformats.org/officeDocument/2006/relationships/image" Target="../media/image50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46.png"/><Relationship Id="rId2" Type="http://schemas.openxmlformats.org/officeDocument/2006/relationships/tags" Target="../tags/tag3.xml"/><Relationship Id="rId16" Type="http://schemas.openxmlformats.org/officeDocument/2006/relationships/image" Target="../media/image45.png"/><Relationship Id="rId20" Type="http://schemas.openxmlformats.org/officeDocument/2006/relationships/image" Target="../media/image49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44.png"/><Relationship Id="rId10" Type="http://schemas.openxmlformats.org/officeDocument/2006/relationships/tags" Target="../tags/tag11.xml"/><Relationship Id="rId19" Type="http://schemas.openxmlformats.org/officeDocument/2006/relationships/image" Target="../media/image48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12.xml"/><Relationship Id="rId22" Type="http://schemas.openxmlformats.org/officeDocument/2006/relationships/image" Target="../media/image5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6457F-EBEC-6076-2099-61F0111F7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ABLE POSTCARDS AND ONE PIECE MAILING GUIDE WITH TEST AND INNOVAT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95C554-915C-D5D6-D2F1-5C1810BFA72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2B2E3B-8FE9-D1AC-B0F0-591C6E7D07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February 2025</a:t>
            </a:r>
          </a:p>
        </p:txBody>
      </p:sp>
    </p:spTree>
    <p:extLst>
      <p:ext uri="{BB962C8B-B14F-4D97-AF65-F5344CB8AC3E}">
        <p14:creationId xmlns:p14="http://schemas.microsoft.com/office/powerpoint/2010/main" val="39809137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267C07-4A07-B501-B5F8-C1C5D6EEB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ertising mail test &amp; innovat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011236-2553-DD63-755B-39D38CD763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000" dirty="0"/>
              <a:t>MACHINEABLE POSTCARD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4A17E4-4DAD-7F72-4839-5217879975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000" dirty="0"/>
              <a:t>ONE PIECE PAPER WRAP MAIL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CF2EBBC-62EB-B55C-5AC0-5776DF323E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GB" sz="2000" dirty="0"/>
              <a:t>FEATURE MAILE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1F4675A-F1ED-BC1C-3410-C9B119CA5C1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sz="2000" dirty="0"/>
              <a:t>COUPON MAIL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0206F1-1912-5DC1-3ACE-C56875FF6EC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6A37A7-6E33-BC0E-0CB4-C5B53D3190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chinable postcards and 3 lightweight formats available to use </a:t>
            </a:r>
          </a:p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C856BE-33EF-6EB5-0658-FF0DE1F411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4FBE77CC-A1EA-E0CF-7CC2-89501F5239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53" y="3477128"/>
            <a:ext cx="2100871" cy="13568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One-Piece Personalised Mailers | YM Group">
            <a:extLst>
              <a:ext uri="{FF2B5EF4-FFF2-40B4-BE49-F238E27FC236}">
                <a16:creationId xmlns:a16="http://schemas.microsoft.com/office/drawing/2014/main" id="{F2F00C8E-34EC-B021-6D8B-E4E3E0A89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786" y="3371595"/>
            <a:ext cx="2648691" cy="1986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E1881E4-E955-0DCF-A77C-61BAF72399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349" t="59598" r="57711" b="21560"/>
          <a:stretch/>
        </p:blipFill>
        <p:spPr>
          <a:xfrm>
            <a:off x="3543557" y="3105787"/>
            <a:ext cx="2361566" cy="25181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2690C0D-0848-8FFB-3315-016D4AA097F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5904" t="59598" r="44156" b="23695"/>
          <a:stretch/>
        </p:blipFill>
        <p:spPr>
          <a:xfrm>
            <a:off x="6214641" y="3233817"/>
            <a:ext cx="2597723" cy="245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50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AC7327-39B0-B84F-130B-6103DF226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415B37-3785-E0AD-BE85-658BD46B2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gets you notic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640802-C0BD-1C1B-E29B-F4373E24F2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Addressed Mail, 2024, n=1,161 </a:t>
            </a:r>
          </a:p>
        </p:txBody>
      </p:sp>
      <p:pic>
        <p:nvPicPr>
          <p:cNvPr id="6" name="Graphic 5" descr="Arrow circle">
            <a:extLst>
              <a:ext uri="{FF2B5EF4-FFF2-40B4-BE49-F238E27FC236}">
                <a16:creationId xmlns:a16="http://schemas.microsoft.com/office/drawing/2014/main" id="{D47E2ED9-870E-892A-7F0D-70E2385978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87811" y="4189323"/>
            <a:ext cx="1781907" cy="17819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4B28BC-798B-7AE1-672E-F9F3D6EB48F2}"/>
              </a:ext>
            </a:extLst>
          </p:cNvPr>
          <p:cNvSpPr txBox="1"/>
          <p:nvPr/>
        </p:nvSpPr>
        <p:spPr>
          <a:xfrm>
            <a:off x="6699494" y="4787888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4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10EF0DA-F69A-E884-4CD4-E110463F24C8}"/>
              </a:ext>
            </a:extLst>
          </p:cNvPr>
          <p:cNvGraphicFramePr/>
          <p:nvPr/>
        </p:nvGraphicFramePr>
        <p:xfrm>
          <a:off x="6198086" y="1519642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2C04677-4669-D018-35CB-F1F216920810}"/>
              </a:ext>
            </a:extLst>
          </p:cNvPr>
          <p:cNvSpPr txBox="1"/>
          <p:nvPr/>
        </p:nvSpPr>
        <p:spPr>
          <a:xfrm>
            <a:off x="6649656" y="1932530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97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0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28B574A-1B6F-8777-CB03-35576A67439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57840" y="3492935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1" name="Freeform 186">
              <a:extLst>
                <a:ext uri="{FF2B5EF4-FFF2-40B4-BE49-F238E27FC236}">
                  <a16:creationId xmlns:a16="http://schemas.microsoft.com/office/drawing/2014/main" id="{C1E46F84-ACB3-CCBA-73B3-23944C801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187">
              <a:extLst>
                <a:ext uri="{FF2B5EF4-FFF2-40B4-BE49-F238E27FC236}">
                  <a16:creationId xmlns:a16="http://schemas.microsoft.com/office/drawing/2014/main" id="{E36CE254-49D8-49D3-F49F-494EDC8EB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88">
              <a:extLst>
                <a:ext uri="{FF2B5EF4-FFF2-40B4-BE49-F238E27FC236}">
                  <a16:creationId xmlns:a16="http://schemas.microsoft.com/office/drawing/2014/main" id="{0202EF42-87D4-00E7-8A3F-9309C3CF3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4521FFF0-9283-BE23-35CF-5054905B8B3C}"/>
              </a:ext>
            </a:extLst>
          </p:cNvPr>
          <p:cNvSpPr txBox="1"/>
          <p:nvPr/>
        </p:nvSpPr>
        <p:spPr>
          <a:xfrm>
            <a:off x="6778139" y="2984051"/>
            <a:ext cx="9877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16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7E4F1B0-AFB2-FA86-1B23-3D1330C3B950}"/>
              </a:ext>
            </a:extLst>
          </p:cNvPr>
          <p:cNvSpPr txBox="1"/>
          <p:nvPr/>
        </p:nvSpPr>
        <p:spPr>
          <a:xfrm>
            <a:off x="7766899" y="1759465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Of mail is engaged with:  opened, read, sorted, put aside, put on display or in the usual plac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FBEC22-5462-1914-BCC9-538FDCD0F3AD}"/>
              </a:ext>
            </a:extLst>
          </p:cNvPr>
          <p:cNvSpPr txBox="1"/>
          <p:nvPr/>
        </p:nvSpPr>
        <p:spPr>
          <a:xfrm>
            <a:off x="7811902" y="4714783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mail is revisited over 4.4 times by individual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7640D6-DDE2-3065-7001-B1DDB0DB8E7A}"/>
              </a:ext>
            </a:extLst>
          </p:cNvPr>
          <p:cNvSpPr txBox="1"/>
          <p:nvPr/>
        </p:nvSpPr>
        <p:spPr>
          <a:xfrm>
            <a:off x="7811902" y="3327363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6 people.</a:t>
            </a:r>
          </a:p>
        </p:txBody>
      </p:sp>
    </p:spTree>
    <p:extLst>
      <p:ext uri="{BB962C8B-B14F-4D97-AF65-F5344CB8AC3E}">
        <p14:creationId xmlns:p14="http://schemas.microsoft.com/office/powerpoint/2010/main" val="29997763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6B37D08-7423-C34A-C626-ACB285E70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car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36BF4DE-54E2-FA09-7755-162E5FA46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mpactful and timely way to get your message ou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B03A02-2D54-24E5-3140-D3D62D9775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6309BD8-BEC6-C34C-3A60-228AB9DC895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5585436" cy="4476750"/>
          </a:xfrm>
        </p:spPr>
        <p:txBody>
          <a:bodyPr/>
          <a:lstStyle/>
          <a:p>
            <a:r>
              <a:rPr lang="en-GB" dirty="0"/>
              <a:t>Postcards are a quick and impactful way to retarget someone who has abandoned their shopping basket</a:t>
            </a:r>
          </a:p>
          <a:p>
            <a:r>
              <a:rPr lang="en-GB" dirty="0"/>
              <a:t>You can use them to let customers know about new products</a:t>
            </a:r>
          </a:p>
          <a:p>
            <a:r>
              <a:rPr lang="en-GB" dirty="0"/>
              <a:t>You can use short formats to let people know about local events</a:t>
            </a:r>
          </a:p>
          <a:p>
            <a:r>
              <a:rPr lang="en-GB" dirty="0"/>
              <a:t>What about thanking VIP customers for their business with you, a thank you very often prompts a sales</a:t>
            </a: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10F3FC-3A58-0929-95BB-65DF929582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8A65AC4E-94A1-8037-24FB-EEBC31FAAF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650" y="1754270"/>
            <a:ext cx="4123532" cy="468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82466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F4BE7-2B30-98FC-C290-17E04A98D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a customer journey online to physical mail ite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5E85F1-BB7C-7D85-FA7F-42D0E616B9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576" y="1471228"/>
            <a:ext cx="10039124" cy="282937"/>
          </a:xfrm>
        </p:spPr>
        <p:txBody>
          <a:bodyPr/>
          <a:lstStyle/>
          <a:p>
            <a:r>
              <a:rPr lang="en-GB" dirty="0"/>
              <a:t>Mail connects to all the main automation platforms you already use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5C8705-3721-4EFD-D4A5-B611886426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15FDC7-B7BE-81BC-A498-0B113E7DF8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2" descr="shopify-logo-png-shopify-logo-300 - Penser">
            <a:extLst>
              <a:ext uri="{FF2B5EF4-FFF2-40B4-BE49-F238E27FC236}">
                <a16:creationId xmlns:a16="http://schemas.microsoft.com/office/drawing/2014/main" id="{4A67D4BF-47CD-0F5E-D722-6F9BCA6B5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374" y="2694537"/>
            <a:ext cx="2146882" cy="1130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Klaviyo + Trustpilot">
            <a:extLst>
              <a:ext uri="{FF2B5EF4-FFF2-40B4-BE49-F238E27FC236}">
                <a16:creationId xmlns:a16="http://schemas.microsoft.com/office/drawing/2014/main" id="{D890F364-C400-FE7B-013F-7C0B95F43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285" y="2356920"/>
            <a:ext cx="1805925" cy="180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Emarsys Logo Download Vector">
            <a:extLst>
              <a:ext uri="{FF2B5EF4-FFF2-40B4-BE49-F238E27FC236}">
                <a16:creationId xmlns:a16="http://schemas.microsoft.com/office/drawing/2014/main" id="{EB395EA4-2C67-6FA9-682A-BFCD7A911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265" y="3966841"/>
            <a:ext cx="2282095" cy="478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dotdigital Engagement Cloud | Shopware integration">
            <a:extLst>
              <a:ext uri="{FF2B5EF4-FFF2-40B4-BE49-F238E27FC236}">
                <a16:creationId xmlns:a16="http://schemas.microsoft.com/office/drawing/2014/main" id="{6C66F770-3275-BDEA-C4DE-E1EA7A885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586" y="2526707"/>
            <a:ext cx="1466350" cy="146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Ometria Logo - A Young Entrepreneur in London - by Ivan Mazour">
            <a:extLst>
              <a:ext uri="{FF2B5EF4-FFF2-40B4-BE49-F238E27FC236}">
                <a16:creationId xmlns:a16="http://schemas.microsoft.com/office/drawing/2014/main" id="{49B8C8D1-148F-1395-CBF4-AE2D23386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287" y="5411564"/>
            <a:ext cx="1836025" cy="51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The Referral Engineering™ Platform | Mention Me">
            <a:extLst>
              <a:ext uri="{FF2B5EF4-FFF2-40B4-BE49-F238E27FC236}">
                <a16:creationId xmlns:a16="http://schemas.microsoft.com/office/drawing/2014/main" id="{80CCF4C7-FCCB-C572-3ADF-56195CC3A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6894" y="4641459"/>
            <a:ext cx="2155533" cy="557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4">
            <a:extLst>
              <a:ext uri="{FF2B5EF4-FFF2-40B4-BE49-F238E27FC236}">
                <a16:creationId xmlns:a16="http://schemas.microsoft.com/office/drawing/2014/main" id="{9DD288DA-A479-41ED-CDEC-BEB7A4EAD3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414" y="3966841"/>
            <a:ext cx="1993490" cy="551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Nosto Logo Horizontal Primary - New Logo Modern Horizontal PNG Image |  Transparent PNG Free Download on SeekPNG">
            <a:extLst>
              <a:ext uri="{FF2B5EF4-FFF2-40B4-BE49-F238E27FC236}">
                <a16:creationId xmlns:a16="http://schemas.microsoft.com/office/drawing/2014/main" id="{4AD1559F-C429-2BEA-81D5-DA0B430C1E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680" y="4553080"/>
            <a:ext cx="2056749" cy="68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50773FE-FA9E-2F7D-6365-105020A8836D}"/>
              </a:ext>
            </a:extLst>
          </p:cNvPr>
          <p:cNvSpPr txBox="1"/>
          <p:nvPr/>
        </p:nvSpPr>
        <p:spPr>
          <a:xfrm>
            <a:off x="1230490" y="2370713"/>
            <a:ext cx="11737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cquisi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50DB2F-7A51-A4FD-4441-39E86BA9CE67}"/>
              </a:ext>
            </a:extLst>
          </p:cNvPr>
          <p:cNvSpPr txBox="1"/>
          <p:nvPr/>
        </p:nvSpPr>
        <p:spPr>
          <a:xfrm>
            <a:off x="5141577" y="3077639"/>
            <a:ext cx="1346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Eng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14F7B1-1448-5073-5E43-AA3A01E7719C}"/>
              </a:ext>
            </a:extLst>
          </p:cNvPr>
          <p:cNvSpPr txBox="1"/>
          <p:nvPr/>
        </p:nvSpPr>
        <p:spPr>
          <a:xfrm>
            <a:off x="5113243" y="4899130"/>
            <a:ext cx="1095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ross-sell</a:t>
            </a:r>
          </a:p>
          <a:p>
            <a:r>
              <a:rPr lang="en-GB" sz="1600" dirty="0">
                <a:solidFill>
                  <a:schemeClr val="tx2"/>
                </a:solidFill>
              </a:rPr>
              <a:t>Up-sel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AB2265-C489-CC51-4955-F4D702B7872E}"/>
              </a:ext>
            </a:extLst>
          </p:cNvPr>
          <p:cNvSpPr txBox="1"/>
          <p:nvPr/>
        </p:nvSpPr>
        <p:spPr>
          <a:xfrm>
            <a:off x="3498416" y="6045058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dvocac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37C885-6553-472F-21F8-F961C309CF6A}"/>
              </a:ext>
            </a:extLst>
          </p:cNvPr>
          <p:cNvSpPr txBox="1"/>
          <p:nvPr/>
        </p:nvSpPr>
        <p:spPr>
          <a:xfrm>
            <a:off x="1287106" y="5534967"/>
            <a:ext cx="9012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Laps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BB0F58-6F3A-7CCA-D99E-CE9287CF0B2B}"/>
              </a:ext>
            </a:extLst>
          </p:cNvPr>
          <p:cNvSpPr txBox="1"/>
          <p:nvPr/>
        </p:nvSpPr>
        <p:spPr>
          <a:xfrm>
            <a:off x="409366" y="3916011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Win back</a:t>
            </a:r>
          </a:p>
        </p:txBody>
      </p:sp>
      <p:grpSp>
        <p:nvGrpSpPr>
          <p:cNvPr id="21" name="Shopping_ba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BF8B64-262A-2D52-EFFC-851F296153EE}"/>
              </a:ext>
            </a:extLst>
          </p:cNvPr>
          <p:cNvGrpSpPr>
            <a:grpSpLocks noChangeAspect="1"/>
          </p:cNvGrpSpPr>
          <p:nvPr/>
        </p:nvGrpSpPr>
        <p:grpSpPr>
          <a:xfrm>
            <a:off x="3135742" y="3818613"/>
            <a:ext cx="632911" cy="794901"/>
            <a:chOff x="6843384" y="6101264"/>
            <a:chExt cx="432286" cy="542928"/>
          </a:xfrm>
        </p:grpSpPr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EEBBBC2F-5652-70EC-03FE-1F61864B2A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3389" y="6101264"/>
              <a:ext cx="432281" cy="542925"/>
            </a:xfrm>
            <a:custGeom>
              <a:avLst/>
              <a:gdLst>
                <a:gd name="T0" fmla="*/ 0 w 350"/>
                <a:gd name="T1" fmla="*/ 438 h 438"/>
                <a:gd name="T2" fmla="*/ 0 w 350"/>
                <a:gd name="T3" fmla="*/ 438 h 438"/>
                <a:gd name="T4" fmla="*/ 7 w 350"/>
                <a:gd name="T5" fmla="*/ 388 h 438"/>
                <a:gd name="T6" fmla="*/ 343 w 350"/>
                <a:gd name="T7" fmla="*/ 388 h 438"/>
                <a:gd name="T8" fmla="*/ 350 w 350"/>
                <a:gd name="T9" fmla="*/ 438 h 438"/>
                <a:gd name="T10" fmla="*/ 0 w 350"/>
                <a:gd name="T11" fmla="*/ 438 h 438"/>
                <a:gd name="T12" fmla="*/ 225 w 350"/>
                <a:gd name="T13" fmla="*/ 100 h 438"/>
                <a:gd name="T14" fmla="*/ 175 w 350"/>
                <a:gd name="T15" fmla="*/ 38 h 438"/>
                <a:gd name="T16" fmla="*/ 125 w 350"/>
                <a:gd name="T17" fmla="*/ 100 h 438"/>
                <a:gd name="T18" fmla="*/ 125 w 350"/>
                <a:gd name="T19" fmla="*/ 113 h 438"/>
                <a:gd name="T20" fmla="*/ 88 w 350"/>
                <a:gd name="T21" fmla="*/ 113 h 438"/>
                <a:gd name="T22" fmla="*/ 88 w 350"/>
                <a:gd name="T23" fmla="*/ 76 h 438"/>
                <a:gd name="T24" fmla="*/ 175 w 350"/>
                <a:gd name="T25" fmla="*/ 0 h 438"/>
                <a:gd name="T26" fmla="*/ 262 w 350"/>
                <a:gd name="T27" fmla="*/ 76 h 438"/>
                <a:gd name="T28" fmla="*/ 263 w 350"/>
                <a:gd name="T29" fmla="*/ 113 h 438"/>
                <a:gd name="T30" fmla="*/ 225 w 350"/>
                <a:gd name="T31" fmla="*/ 113 h 438"/>
                <a:gd name="T32" fmla="*/ 225 w 350"/>
                <a:gd name="T33" fmla="*/ 10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0" h="438">
                  <a:moveTo>
                    <a:pt x="0" y="438"/>
                  </a:moveTo>
                  <a:lnTo>
                    <a:pt x="0" y="438"/>
                  </a:lnTo>
                  <a:lnTo>
                    <a:pt x="7" y="388"/>
                  </a:lnTo>
                  <a:lnTo>
                    <a:pt x="343" y="388"/>
                  </a:lnTo>
                  <a:lnTo>
                    <a:pt x="350" y="438"/>
                  </a:lnTo>
                  <a:lnTo>
                    <a:pt x="0" y="438"/>
                  </a:lnTo>
                  <a:close/>
                  <a:moveTo>
                    <a:pt x="225" y="100"/>
                  </a:moveTo>
                  <a:cubicBezTo>
                    <a:pt x="225" y="81"/>
                    <a:pt x="216" y="38"/>
                    <a:pt x="175" y="38"/>
                  </a:cubicBezTo>
                  <a:cubicBezTo>
                    <a:pt x="134" y="38"/>
                    <a:pt x="125" y="81"/>
                    <a:pt x="125" y="100"/>
                  </a:cubicBezTo>
                  <a:lnTo>
                    <a:pt x="125" y="113"/>
                  </a:lnTo>
                  <a:lnTo>
                    <a:pt x="88" y="113"/>
                  </a:lnTo>
                  <a:lnTo>
                    <a:pt x="88" y="76"/>
                  </a:lnTo>
                  <a:cubicBezTo>
                    <a:pt x="88" y="38"/>
                    <a:pt x="126" y="0"/>
                    <a:pt x="175" y="0"/>
                  </a:cubicBezTo>
                  <a:cubicBezTo>
                    <a:pt x="224" y="0"/>
                    <a:pt x="262" y="38"/>
                    <a:pt x="262" y="76"/>
                  </a:cubicBezTo>
                  <a:lnTo>
                    <a:pt x="263" y="113"/>
                  </a:lnTo>
                  <a:lnTo>
                    <a:pt x="225" y="113"/>
                  </a:lnTo>
                  <a:lnTo>
                    <a:pt x="225" y="10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E220EB7-0DF6-3F2D-EA47-E4C8BB3D2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384" y="6240215"/>
              <a:ext cx="432281" cy="403977"/>
            </a:xfrm>
            <a:custGeom>
              <a:avLst/>
              <a:gdLst>
                <a:gd name="connsiteX0" fmla="*/ 58820 w 432281"/>
                <a:gd name="connsiteY0" fmla="*/ 9388 h 403977"/>
                <a:gd name="connsiteX1" fmla="*/ 9140 w 432281"/>
                <a:gd name="connsiteY1" fmla="*/ 394588 h 403977"/>
                <a:gd name="connsiteX2" fmla="*/ 423140 w 432281"/>
                <a:gd name="connsiteY2" fmla="*/ 394588 h 403977"/>
                <a:gd name="connsiteX3" fmla="*/ 373460 w 432281"/>
                <a:gd name="connsiteY3" fmla="*/ 9388 h 403977"/>
                <a:gd name="connsiteX4" fmla="*/ 51874 w 432281"/>
                <a:gd name="connsiteY4" fmla="*/ 0 h 403977"/>
                <a:gd name="connsiteX5" fmla="*/ 380408 w 432281"/>
                <a:gd name="connsiteY5" fmla="*/ 0 h 403977"/>
                <a:gd name="connsiteX6" fmla="*/ 432281 w 432281"/>
                <a:gd name="connsiteY6" fmla="*/ 403977 h 403977"/>
                <a:gd name="connsiteX7" fmla="*/ 0 w 432281"/>
                <a:gd name="connsiteY7" fmla="*/ 403977 h 40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2281" h="403977">
                  <a:moveTo>
                    <a:pt x="58820" y="9388"/>
                  </a:moveTo>
                  <a:lnTo>
                    <a:pt x="9140" y="394588"/>
                  </a:lnTo>
                  <a:lnTo>
                    <a:pt x="423140" y="394588"/>
                  </a:lnTo>
                  <a:lnTo>
                    <a:pt x="373460" y="9388"/>
                  </a:lnTo>
                  <a:close/>
                  <a:moveTo>
                    <a:pt x="51874" y="0"/>
                  </a:moveTo>
                  <a:lnTo>
                    <a:pt x="380408" y="0"/>
                  </a:lnTo>
                  <a:lnTo>
                    <a:pt x="432281" y="403977"/>
                  </a:lnTo>
                  <a:lnTo>
                    <a:pt x="0" y="40397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6A359A57-9657-1206-2088-A9EF7C94C1E2}"/>
              </a:ext>
            </a:extLst>
          </p:cNvPr>
          <p:cNvSpPr txBox="1"/>
          <p:nvPr/>
        </p:nvSpPr>
        <p:spPr>
          <a:xfrm>
            <a:off x="2961173" y="4566447"/>
            <a:ext cx="1132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accent1"/>
                </a:solidFill>
              </a:rPr>
              <a:t>OMNICHANNEL</a:t>
            </a:r>
          </a:p>
        </p:txBody>
      </p:sp>
      <p:sp>
        <p:nvSpPr>
          <p:cNvPr id="25" name="Freeform 10">
            <a:extLst>
              <a:ext uri="{FF2B5EF4-FFF2-40B4-BE49-F238E27FC236}">
                <a16:creationId xmlns:a16="http://schemas.microsoft.com/office/drawing/2014/main" id="{F667A2BE-BCC9-F938-5ED2-EC3219C427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201" y="2526227"/>
            <a:ext cx="407756" cy="400720"/>
          </a:xfrm>
          <a:custGeom>
            <a:avLst/>
            <a:gdLst>
              <a:gd name="T0" fmla="*/ 2147483646 w 1673"/>
              <a:gd name="T1" fmla="*/ 2147483646 h 1639"/>
              <a:gd name="T2" fmla="*/ 2147483646 w 1673"/>
              <a:gd name="T3" fmla="*/ 2147483646 h 1639"/>
              <a:gd name="T4" fmla="*/ 2147483646 w 1673"/>
              <a:gd name="T5" fmla="*/ 2147483646 h 1639"/>
              <a:gd name="T6" fmla="*/ 2147483646 w 1673"/>
              <a:gd name="T7" fmla="*/ 2147483646 h 1639"/>
              <a:gd name="T8" fmla="*/ 2147483646 w 1673"/>
              <a:gd name="T9" fmla="*/ 2147483646 h 1639"/>
              <a:gd name="T10" fmla="*/ 2147483646 w 1673"/>
              <a:gd name="T11" fmla="*/ 2147483646 h 1639"/>
              <a:gd name="T12" fmla="*/ 2147483646 w 1673"/>
              <a:gd name="T13" fmla="*/ 2147483646 h 1639"/>
              <a:gd name="T14" fmla="*/ 2147483646 w 1673"/>
              <a:gd name="T15" fmla="*/ 2147483646 h 1639"/>
              <a:gd name="T16" fmla="*/ 2147483646 w 1673"/>
              <a:gd name="T17" fmla="*/ 2147483646 h 1639"/>
              <a:gd name="T18" fmla="*/ 2147483646 w 1673"/>
              <a:gd name="T19" fmla="*/ 2147483646 h 1639"/>
              <a:gd name="T20" fmla="*/ 2147483646 w 1673"/>
              <a:gd name="T21" fmla="*/ 2147483646 h 1639"/>
              <a:gd name="T22" fmla="*/ 2147483646 w 1673"/>
              <a:gd name="T23" fmla="*/ 2147483646 h 1639"/>
              <a:gd name="T24" fmla="*/ 2147483646 w 1673"/>
              <a:gd name="T25" fmla="*/ 2147483646 h 1639"/>
              <a:gd name="T26" fmla="*/ 2147483646 w 1673"/>
              <a:gd name="T27" fmla="*/ 2147483646 h 1639"/>
              <a:gd name="T28" fmla="*/ 2147483646 w 1673"/>
              <a:gd name="T29" fmla="*/ 2147483646 h 1639"/>
              <a:gd name="T30" fmla="*/ 2147483646 w 1673"/>
              <a:gd name="T31" fmla="*/ 2147483646 h 1639"/>
              <a:gd name="T32" fmla="*/ 0 w 1673"/>
              <a:gd name="T33" fmla="*/ 2147483646 h 1639"/>
              <a:gd name="T34" fmla="*/ 2147483646 w 1673"/>
              <a:gd name="T35" fmla="*/ 2147483646 h 1639"/>
              <a:gd name="T36" fmla="*/ 2147483646 w 1673"/>
              <a:gd name="T37" fmla="*/ 2147483646 h 1639"/>
              <a:gd name="T38" fmla="*/ 2147483646 w 1673"/>
              <a:gd name="T39" fmla="*/ 2147483646 h 1639"/>
              <a:gd name="T40" fmla="*/ 2147483646 w 1673"/>
              <a:gd name="T41" fmla="*/ 2147483646 h 1639"/>
              <a:gd name="T42" fmla="*/ 2147483646 w 1673"/>
              <a:gd name="T43" fmla="*/ 2147483646 h 1639"/>
              <a:gd name="T44" fmla="*/ 2147483646 w 1673"/>
              <a:gd name="T45" fmla="*/ 2147483646 h 1639"/>
              <a:gd name="T46" fmla="*/ 2147483646 w 1673"/>
              <a:gd name="T47" fmla="*/ 2147483646 h 1639"/>
              <a:gd name="T48" fmla="*/ 2147483646 w 1673"/>
              <a:gd name="T49" fmla="*/ 2147483646 h 1639"/>
              <a:gd name="T50" fmla="*/ 2147483646 w 1673"/>
              <a:gd name="T51" fmla="*/ 2147483646 h 1639"/>
              <a:gd name="T52" fmla="*/ 2147483646 w 1673"/>
              <a:gd name="T53" fmla="*/ 2147483646 h 1639"/>
              <a:gd name="T54" fmla="*/ 2147483646 w 1673"/>
              <a:gd name="T55" fmla="*/ 2147483646 h 1639"/>
              <a:gd name="T56" fmla="*/ 2147483646 w 1673"/>
              <a:gd name="T57" fmla="*/ 2147483646 h 1639"/>
              <a:gd name="T58" fmla="*/ 2147483646 w 1673"/>
              <a:gd name="T59" fmla="*/ 2147483646 h 1639"/>
              <a:gd name="T60" fmla="*/ 2147483646 w 1673"/>
              <a:gd name="T61" fmla="*/ 2147483646 h 1639"/>
              <a:gd name="T62" fmla="*/ 2147483646 w 1673"/>
              <a:gd name="T63" fmla="*/ 2147483646 h 1639"/>
              <a:gd name="T64" fmla="*/ 2147483646 w 1673"/>
              <a:gd name="T65" fmla="*/ 2147483646 h 1639"/>
              <a:gd name="T66" fmla="*/ 2147483646 w 1673"/>
              <a:gd name="T67" fmla="*/ 2147483646 h 1639"/>
              <a:gd name="T68" fmla="*/ 2147483646 w 1673"/>
              <a:gd name="T69" fmla="*/ 2147483646 h 1639"/>
              <a:gd name="T70" fmla="*/ 2147483646 w 1673"/>
              <a:gd name="T71" fmla="*/ 2147483646 h 1639"/>
              <a:gd name="T72" fmla="*/ 2147483646 w 1673"/>
              <a:gd name="T73" fmla="*/ 2147483646 h 1639"/>
              <a:gd name="T74" fmla="*/ 2147483646 w 1673"/>
              <a:gd name="T75" fmla="*/ 2147483646 h 1639"/>
              <a:gd name="T76" fmla="*/ 2147483646 w 1673"/>
              <a:gd name="T77" fmla="*/ 2147483646 h 1639"/>
              <a:gd name="T78" fmla="*/ 2147483646 w 1673"/>
              <a:gd name="T79" fmla="*/ 2147483646 h 1639"/>
              <a:gd name="T80" fmla="*/ 2147483646 w 1673"/>
              <a:gd name="T81" fmla="*/ 2147483646 h 1639"/>
              <a:gd name="T82" fmla="*/ 2147483646 w 1673"/>
              <a:gd name="T83" fmla="*/ 2147483646 h 1639"/>
              <a:gd name="T84" fmla="*/ 2147483646 w 1673"/>
              <a:gd name="T85" fmla="*/ 2147483646 h 1639"/>
              <a:gd name="T86" fmla="*/ 2147483646 w 1673"/>
              <a:gd name="T87" fmla="*/ 2147483646 h 1639"/>
              <a:gd name="T88" fmla="*/ 2147483646 w 1673"/>
              <a:gd name="T89" fmla="*/ 2147483646 h 1639"/>
              <a:gd name="T90" fmla="*/ 2147483646 w 1673"/>
              <a:gd name="T91" fmla="*/ 2147483646 h 1639"/>
              <a:gd name="T92" fmla="*/ 2147483646 w 1673"/>
              <a:gd name="T93" fmla="*/ 2147483646 h 1639"/>
              <a:gd name="T94" fmla="*/ 2147483646 w 1673"/>
              <a:gd name="T95" fmla="*/ 2147483646 h 163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673" h="1639">
                <a:moveTo>
                  <a:pt x="1638" y="568"/>
                </a:moveTo>
                <a:lnTo>
                  <a:pt x="1638" y="568"/>
                </a:lnTo>
                <a:cubicBezTo>
                  <a:pt x="1612" y="539"/>
                  <a:pt x="1577" y="522"/>
                  <a:pt x="1540" y="522"/>
                </a:cubicBezTo>
                <a:cubicBezTo>
                  <a:pt x="1439" y="522"/>
                  <a:pt x="1439" y="522"/>
                  <a:pt x="1439" y="522"/>
                </a:cubicBezTo>
                <a:cubicBezTo>
                  <a:pt x="1045" y="37"/>
                  <a:pt x="1045" y="37"/>
                  <a:pt x="1045" y="37"/>
                </a:cubicBezTo>
                <a:cubicBezTo>
                  <a:pt x="1021" y="6"/>
                  <a:pt x="978" y="0"/>
                  <a:pt x="945" y="22"/>
                </a:cubicBezTo>
                <a:cubicBezTo>
                  <a:pt x="916" y="48"/>
                  <a:pt x="910" y="89"/>
                  <a:pt x="932" y="122"/>
                </a:cubicBezTo>
                <a:cubicBezTo>
                  <a:pt x="932" y="125"/>
                  <a:pt x="934" y="125"/>
                  <a:pt x="934" y="126"/>
                </a:cubicBezTo>
                <a:cubicBezTo>
                  <a:pt x="1257" y="522"/>
                  <a:pt x="1257" y="522"/>
                  <a:pt x="1257" y="522"/>
                </a:cubicBezTo>
                <a:cubicBezTo>
                  <a:pt x="388" y="522"/>
                  <a:pt x="388" y="522"/>
                  <a:pt x="388" y="522"/>
                </a:cubicBezTo>
                <a:cubicBezTo>
                  <a:pt x="709" y="126"/>
                  <a:pt x="709" y="126"/>
                  <a:pt x="709" y="126"/>
                </a:cubicBezTo>
                <a:cubicBezTo>
                  <a:pt x="735" y="98"/>
                  <a:pt x="734" y="54"/>
                  <a:pt x="706" y="27"/>
                </a:cubicBezTo>
                <a:cubicBezTo>
                  <a:pt x="676" y="0"/>
                  <a:pt x="631" y="3"/>
                  <a:pt x="606" y="31"/>
                </a:cubicBezTo>
                <a:cubicBezTo>
                  <a:pt x="603" y="33"/>
                  <a:pt x="602" y="36"/>
                  <a:pt x="599" y="37"/>
                </a:cubicBezTo>
                <a:cubicBezTo>
                  <a:pt x="207" y="523"/>
                  <a:pt x="207" y="523"/>
                  <a:pt x="207" y="523"/>
                </a:cubicBezTo>
                <a:cubicBezTo>
                  <a:pt x="126" y="523"/>
                  <a:pt x="126" y="523"/>
                  <a:pt x="126" y="523"/>
                </a:cubicBezTo>
                <a:cubicBezTo>
                  <a:pt x="56" y="523"/>
                  <a:pt x="0" y="580"/>
                  <a:pt x="0" y="649"/>
                </a:cubicBezTo>
                <a:cubicBezTo>
                  <a:pt x="0" y="657"/>
                  <a:pt x="0" y="666"/>
                  <a:pt x="2" y="673"/>
                </a:cubicBezTo>
                <a:cubicBezTo>
                  <a:pt x="165" y="1492"/>
                  <a:pt x="165" y="1492"/>
                  <a:pt x="165" y="1492"/>
                </a:cubicBezTo>
                <a:cubicBezTo>
                  <a:pt x="181" y="1577"/>
                  <a:pt x="256" y="1638"/>
                  <a:pt x="343" y="1638"/>
                </a:cubicBezTo>
                <a:cubicBezTo>
                  <a:pt x="1323" y="1638"/>
                  <a:pt x="1323" y="1638"/>
                  <a:pt x="1323" y="1638"/>
                </a:cubicBezTo>
                <a:cubicBezTo>
                  <a:pt x="1409" y="1638"/>
                  <a:pt x="1485" y="1577"/>
                  <a:pt x="1501" y="1492"/>
                </a:cubicBezTo>
                <a:cubicBezTo>
                  <a:pt x="1663" y="673"/>
                  <a:pt x="1663" y="673"/>
                  <a:pt x="1663" y="673"/>
                </a:cubicBezTo>
                <a:cubicBezTo>
                  <a:pt x="1672" y="638"/>
                  <a:pt x="1661" y="599"/>
                  <a:pt x="1638" y="568"/>
                </a:cubicBezTo>
                <a:close/>
                <a:moveTo>
                  <a:pt x="621" y="1231"/>
                </a:moveTo>
                <a:lnTo>
                  <a:pt x="621" y="1231"/>
                </a:lnTo>
                <a:cubicBezTo>
                  <a:pt x="621" y="1269"/>
                  <a:pt x="590" y="1302"/>
                  <a:pt x="551" y="1302"/>
                </a:cubicBezTo>
                <a:cubicBezTo>
                  <a:pt x="513" y="1302"/>
                  <a:pt x="480" y="1269"/>
                  <a:pt x="480" y="1231"/>
                </a:cubicBezTo>
                <a:cubicBezTo>
                  <a:pt x="480" y="943"/>
                  <a:pt x="480" y="943"/>
                  <a:pt x="480" y="943"/>
                </a:cubicBezTo>
                <a:cubicBezTo>
                  <a:pt x="480" y="904"/>
                  <a:pt x="513" y="871"/>
                  <a:pt x="551" y="871"/>
                </a:cubicBezTo>
                <a:cubicBezTo>
                  <a:pt x="590" y="871"/>
                  <a:pt x="621" y="904"/>
                  <a:pt x="621" y="943"/>
                </a:cubicBezTo>
                <a:lnTo>
                  <a:pt x="621" y="1231"/>
                </a:lnTo>
                <a:close/>
                <a:moveTo>
                  <a:pt x="904" y="1231"/>
                </a:moveTo>
                <a:lnTo>
                  <a:pt x="904" y="1231"/>
                </a:lnTo>
                <a:cubicBezTo>
                  <a:pt x="904" y="1269"/>
                  <a:pt x="871" y="1302"/>
                  <a:pt x="833" y="1302"/>
                </a:cubicBezTo>
                <a:cubicBezTo>
                  <a:pt x="795" y="1302"/>
                  <a:pt x="762" y="1269"/>
                  <a:pt x="762" y="1231"/>
                </a:cubicBezTo>
                <a:cubicBezTo>
                  <a:pt x="762" y="943"/>
                  <a:pt x="762" y="943"/>
                  <a:pt x="762" y="943"/>
                </a:cubicBezTo>
                <a:cubicBezTo>
                  <a:pt x="762" y="904"/>
                  <a:pt x="795" y="871"/>
                  <a:pt x="833" y="871"/>
                </a:cubicBezTo>
                <a:cubicBezTo>
                  <a:pt x="871" y="871"/>
                  <a:pt x="904" y="904"/>
                  <a:pt x="904" y="943"/>
                </a:cubicBezTo>
                <a:lnTo>
                  <a:pt x="904" y="1231"/>
                </a:lnTo>
                <a:close/>
                <a:moveTo>
                  <a:pt x="1183" y="1231"/>
                </a:moveTo>
                <a:lnTo>
                  <a:pt x="1183" y="1231"/>
                </a:lnTo>
                <a:cubicBezTo>
                  <a:pt x="1183" y="1269"/>
                  <a:pt x="1152" y="1302"/>
                  <a:pt x="1113" y="1302"/>
                </a:cubicBezTo>
                <a:cubicBezTo>
                  <a:pt x="1075" y="1302"/>
                  <a:pt x="1042" y="1269"/>
                  <a:pt x="1042" y="1231"/>
                </a:cubicBezTo>
                <a:cubicBezTo>
                  <a:pt x="1042" y="943"/>
                  <a:pt x="1042" y="943"/>
                  <a:pt x="1042" y="943"/>
                </a:cubicBezTo>
                <a:cubicBezTo>
                  <a:pt x="1042" y="904"/>
                  <a:pt x="1075" y="871"/>
                  <a:pt x="1113" y="871"/>
                </a:cubicBezTo>
                <a:cubicBezTo>
                  <a:pt x="1152" y="871"/>
                  <a:pt x="1183" y="904"/>
                  <a:pt x="1183" y="943"/>
                </a:cubicBezTo>
                <a:lnTo>
                  <a:pt x="1183" y="1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CC5046-5BBF-FA92-F4BC-B598BB29C8A2}"/>
              </a:ext>
            </a:extLst>
          </p:cNvPr>
          <p:cNvGrpSpPr>
            <a:grpSpLocks/>
          </p:cNvGrpSpPr>
          <p:nvPr/>
        </p:nvGrpSpPr>
        <p:grpSpPr bwMode="auto">
          <a:xfrm>
            <a:off x="3144273" y="2728309"/>
            <a:ext cx="423671" cy="419012"/>
            <a:chOff x="3968" y="2820"/>
            <a:chExt cx="409" cy="404"/>
          </a:xfrm>
          <a:solidFill>
            <a:schemeClr val="accent1"/>
          </a:solidFill>
        </p:grpSpPr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138D3621-E6FF-ABC6-4430-30A6296F5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820"/>
              <a:ext cx="409" cy="153"/>
            </a:xfrm>
            <a:custGeom>
              <a:avLst/>
              <a:gdLst>
                <a:gd name="T0" fmla="*/ 0 w 1809"/>
                <a:gd name="T1" fmla="*/ 0 h 680"/>
                <a:gd name="T2" fmla="*/ 0 w 1809"/>
                <a:gd name="T3" fmla="*/ 0 h 680"/>
                <a:gd name="T4" fmla="*/ 0 w 1809"/>
                <a:gd name="T5" fmla="*/ 0 h 680"/>
                <a:gd name="T6" fmla="*/ 0 w 1809"/>
                <a:gd name="T7" fmla="*/ 0 h 680"/>
                <a:gd name="T8" fmla="*/ 0 w 1809"/>
                <a:gd name="T9" fmla="*/ 0 h 680"/>
                <a:gd name="T10" fmla="*/ 0 w 1809"/>
                <a:gd name="T11" fmla="*/ 0 h 680"/>
                <a:gd name="T12" fmla="*/ 0 w 1809"/>
                <a:gd name="T13" fmla="*/ 0 h 680"/>
                <a:gd name="T14" fmla="*/ 0 w 1809"/>
                <a:gd name="T15" fmla="*/ 0 h 680"/>
                <a:gd name="T16" fmla="*/ 0 w 1809"/>
                <a:gd name="T17" fmla="*/ 0 h 680"/>
                <a:gd name="T18" fmla="*/ 0 w 1809"/>
                <a:gd name="T19" fmla="*/ 0 h 680"/>
                <a:gd name="T20" fmla="*/ 0 w 1809"/>
                <a:gd name="T21" fmla="*/ 0 h 6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09" h="680">
                  <a:moveTo>
                    <a:pt x="1129" y="314"/>
                  </a:moveTo>
                  <a:lnTo>
                    <a:pt x="1129" y="314"/>
                  </a:lnTo>
                  <a:lnTo>
                    <a:pt x="1468" y="466"/>
                  </a:lnTo>
                  <a:lnTo>
                    <a:pt x="1808" y="339"/>
                  </a:lnTo>
                  <a:lnTo>
                    <a:pt x="904" y="0"/>
                  </a:lnTo>
                  <a:lnTo>
                    <a:pt x="0" y="339"/>
                  </a:lnTo>
                  <a:lnTo>
                    <a:pt x="904" y="679"/>
                  </a:lnTo>
                  <a:lnTo>
                    <a:pt x="1242" y="551"/>
                  </a:lnTo>
                  <a:lnTo>
                    <a:pt x="904" y="411"/>
                  </a:lnTo>
                  <a:lnTo>
                    <a:pt x="1129" y="3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D675676A-AAEC-1760-D6ED-BDA5ECF17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w 849"/>
                <a:gd name="T19" fmla="*/ 0 h 13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49" h="1337">
                  <a:moveTo>
                    <a:pt x="0" y="0"/>
                  </a:moveTo>
                  <a:lnTo>
                    <a:pt x="0" y="1018"/>
                  </a:lnTo>
                  <a:lnTo>
                    <a:pt x="848" y="1336"/>
                  </a:lnTo>
                  <a:lnTo>
                    <a:pt x="848" y="320"/>
                  </a:lnTo>
                  <a:lnTo>
                    <a:pt x="0" y="0"/>
                  </a:lnTo>
                  <a:close/>
                  <a:moveTo>
                    <a:pt x="451" y="1022"/>
                  </a:moveTo>
                  <a:lnTo>
                    <a:pt x="226" y="936"/>
                  </a:lnTo>
                  <a:lnTo>
                    <a:pt x="226" y="817"/>
                  </a:lnTo>
                  <a:lnTo>
                    <a:pt x="451" y="901"/>
                  </a:lnTo>
                  <a:lnTo>
                    <a:pt x="451" y="10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26946E90-1981-880D-634C-9357F5C09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49" h="1337">
                  <a:moveTo>
                    <a:pt x="509" y="128"/>
                  </a:moveTo>
                  <a:lnTo>
                    <a:pt x="509" y="412"/>
                  </a:lnTo>
                  <a:lnTo>
                    <a:pt x="282" y="496"/>
                  </a:lnTo>
                  <a:lnTo>
                    <a:pt x="282" y="213"/>
                  </a:lnTo>
                  <a:lnTo>
                    <a:pt x="0" y="320"/>
                  </a:lnTo>
                  <a:lnTo>
                    <a:pt x="0" y="1336"/>
                  </a:lnTo>
                  <a:lnTo>
                    <a:pt x="848" y="1018"/>
                  </a:lnTo>
                  <a:lnTo>
                    <a:pt x="848" y="0"/>
                  </a:lnTo>
                  <a:lnTo>
                    <a:pt x="509" y="12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30" name="Freeform 6">
            <a:extLst>
              <a:ext uri="{FF2B5EF4-FFF2-40B4-BE49-F238E27FC236}">
                <a16:creationId xmlns:a16="http://schemas.microsoft.com/office/drawing/2014/main" id="{549AA761-38A1-88FC-F417-EFA6955A2C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3695" y="3485653"/>
            <a:ext cx="279685" cy="455312"/>
          </a:xfrm>
          <a:custGeom>
            <a:avLst/>
            <a:gdLst>
              <a:gd name="T0" fmla="*/ 2147483646 w 1190"/>
              <a:gd name="T1" fmla="*/ 0 h 1938"/>
              <a:gd name="T2" fmla="*/ 2147483646 w 1190"/>
              <a:gd name="T3" fmla="*/ 0 h 1938"/>
              <a:gd name="T4" fmla="*/ 2147483646 w 1190"/>
              <a:gd name="T5" fmla="*/ 0 h 1938"/>
              <a:gd name="T6" fmla="*/ 0 w 1190"/>
              <a:gd name="T7" fmla="*/ 2147483646 h 1938"/>
              <a:gd name="T8" fmla="*/ 0 w 1190"/>
              <a:gd name="T9" fmla="*/ 2147483646 h 1938"/>
              <a:gd name="T10" fmla="*/ 2147483646 w 1190"/>
              <a:gd name="T11" fmla="*/ 2147483646 h 1938"/>
              <a:gd name="T12" fmla="*/ 2147483646 w 1190"/>
              <a:gd name="T13" fmla="*/ 2147483646 h 1938"/>
              <a:gd name="T14" fmla="*/ 2147483646 w 1190"/>
              <a:gd name="T15" fmla="*/ 2147483646 h 1938"/>
              <a:gd name="T16" fmla="*/ 2147483646 w 1190"/>
              <a:gd name="T17" fmla="*/ 2147483646 h 1938"/>
              <a:gd name="T18" fmla="*/ 2147483646 w 1190"/>
              <a:gd name="T19" fmla="*/ 0 h 1938"/>
              <a:gd name="T20" fmla="*/ 2147483646 w 1190"/>
              <a:gd name="T21" fmla="*/ 2147483646 h 1938"/>
              <a:gd name="T22" fmla="*/ 2147483646 w 1190"/>
              <a:gd name="T23" fmla="*/ 2147483646 h 1938"/>
              <a:gd name="T24" fmla="*/ 2147483646 w 1190"/>
              <a:gd name="T25" fmla="*/ 2147483646 h 1938"/>
              <a:gd name="T26" fmla="*/ 2147483646 w 1190"/>
              <a:gd name="T27" fmla="*/ 2147483646 h 1938"/>
              <a:gd name="T28" fmla="*/ 2147483646 w 1190"/>
              <a:gd name="T29" fmla="*/ 2147483646 h 1938"/>
              <a:gd name="T30" fmla="*/ 2147483646 w 1190"/>
              <a:gd name="T31" fmla="*/ 2147483646 h 1938"/>
              <a:gd name="T32" fmla="*/ 2147483646 w 1190"/>
              <a:gd name="T33" fmla="*/ 2147483646 h 1938"/>
              <a:gd name="T34" fmla="*/ 2147483646 w 1190"/>
              <a:gd name="T35" fmla="*/ 2147483646 h 1938"/>
              <a:gd name="T36" fmla="*/ 2147483646 w 1190"/>
              <a:gd name="T37" fmla="*/ 2147483646 h 1938"/>
              <a:gd name="T38" fmla="*/ 2147483646 w 1190"/>
              <a:gd name="T39" fmla="*/ 2147483646 h 1938"/>
              <a:gd name="T40" fmla="*/ 2147483646 w 1190"/>
              <a:gd name="T41" fmla="*/ 2147483646 h 1938"/>
              <a:gd name="T42" fmla="*/ 2147483646 w 1190"/>
              <a:gd name="T43" fmla="*/ 2147483646 h 1938"/>
              <a:gd name="T44" fmla="*/ 2147483646 w 1190"/>
              <a:gd name="T45" fmla="*/ 2147483646 h 1938"/>
              <a:gd name="T46" fmla="*/ 2147483646 w 1190"/>
              <a:gd name="T47" fmla="*/ 2147483646 h 1938"/>
              <a:gd name="T48" fmla="*/ 2147483646 w 1190"/>
              <a:gd name="T49" fmla="*/ 2147483646 h 1938"/>
              <a:gd name="T50" fmla="*/ 2147483646 w 1190"/>
              <a:gd name="T51" fmla="*/ 2147483646 h 1938"/>
              <a:gd name="T52" fmla="*/ 2147483646 w 1190"/>
              <a:gd name="T53" fmla="*/ 2147483646 h 1938"/>
              <a:gd name="T54" fmla="*/ 2147483646 w 1190"/>
              <a:gd name="T55" fmla="*/ 2147483646 h 1938"/>
              <a:gd name="T56" fmla="*/ 2147483646 w 1190"/>
              <a:gd name="T57" fmla="*/ 2147483646 h 1938"/>
              <a:gd name="T58" fmla="*/ 2147483646 w 1190"/>
              <a:gd name="T59" fmla="*/ 2147483646 h 1938"/>
              <a:gd name="T60" fmla="*/ 2147483646 w 1190"/>
              <a:gd name="T61" fmla="*/ 2147483646 h 1938"/>
              <a:gd name="T62" fmla="*/ 2147483646 w 1190"/>
              <a:gd name="T63" fmla="*/ 2147483646 h 1938"/>
              <a:gd name="T64" fmla="*/ 2147483646 w 1190"/>
              <a:gd name="T65" fmla="*/ 2147483646 h 1938"/>
              <a:gd name="T66" fmla="*/ 2147483646 w 1190"/>
              <a:gd name="T67" fmla="*/ 2147483646 h 1938"/>
              <a:gd name="T68" fmla="*/ 2147483646 w 1190"/>
              <a:gd name="T69" fmla="*/ 2147483646 h 19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90" h="1938">
                <a:moveTo>
                  <a:pt x="1036" y="0"/>
                </a:moveTo>
                <a:lnTo>
                  <a:pt x="1036" y="0"/>
                </a:lnTo>
                <a:cubicBezTo>
                  <a:pt x="152" y="0"/>
                  <a:pt x="152" y="0"/>
                  <a:pt x="152" y="0"/>
                </a:cubicBezTo>
                <a:cubicBezTo>
                  <a:pt x="76" y="0"/>
                  <a:pt x="0" y="61"/>
                  <a:pt x="0" y="153"/>
                </a:cubicBezTo>
                <a:cubicBezTo>
                  <a:pt x="0" y="1784"/>
                  <a:pt x="0" y="1784"/>
                  <a:pt x="0" y="1784"/>
                </a:cubicBezTo>
                <a:cubicBezTo>
                  <a:pt x="0" y="1860"/>
                  <a:pt x="76" y="1937"/>
                  <a:pt x="152" y="1937"/>
                </a:cubicBezTo>
                <a:cubicBezTo>
                  <a:pt x="1036" y="1937"/>
                  <a:pt x="1036" y="1937"/>
                  <a:pt x="1036" y="1937"/>
                </a:cubicBezTo>
                <a:cubicBezTo>
                  <a:pt x="1112" y="1937"/>
                  <a:pt x="1189" y="1860"/>
                  <a:pt x="1189" y="1784"/>
                </a:cubicBezTo>
                <a:cubicBezTo>
                  <a:pt x="1189" y="153"/>
                  <a:pt x="1189" y="153"/>
                  <a:pt x="1189" y="153"/>
                </a:cubicBezTo>
                <a:cubicBezTo>
                  <a:pt x="1189" y="61"/>
                  <a:pt x="1112" y="0"/>
                  <a:pt x="1036" y="0"/>
                </a:cubicBezTo>
                <a:close/>
                <a:moveTo>
                  <a:pt x="457" y="137"/>
                </a:moveTo>
                <a:lnTo>
                  <a:pt x="457" y="137"/>
                </a:lnTo>
                <a:cubicBezTo>
                  <a:pt x="457" y="122"/>
                  <a:pt x="473" y="92"/>
                  <a:pt x="488" y="92"/>
                </a:cubicBezTo>
                <a:cubicBezTo>
                  <a:pt x="700" y="92"/>
                  <a:pt x="700" y="92"/>
                  <a:pt x="700" y="92"/>
                </a:cubicBezTo>
                <a:cubicBezTo>
                  <a:pt x="716" y="92"/>
                  <a:pt x="731" y="122"/>
                  <a:pt x="731" y="137"/>
                </a:cubicBezTo>
                <a:cubicBezTo>
                  <a:pt x="731" y="153"/>
                  <a:pt x="716" y="183"/>
                  <a:pt x="700" y="183"/>
                </a:cubicBezTo>
                <a:cubicBezTo>
                  <a:pt x="488" y="183"/>
                  <a:pt x="488" y="183"/>
                  <a:pt x="488" y="183"/>
                </a:cubicBezTo>
                <a:cubicBezTo>
                  <a:pt x="473" y="183"/>
                  <a:pt x="457" y="153"/>
                  <a:pt x="457" y="137"/>
                </a:cubicBezTo>
                <a:close/>
                <a:moveTo>
                  <a:pt x="595" y="1875"/>
                </a:moveTo>
                <a:lnTo>
                  <a:pt x="595" y="1875"/>
                </a:lnTo>
                <a:cubicBezTo>
                  <a:pt x="549" y="1875"/>
                  <a:pt x="503" y="1845"/>
                  <a:pt x="503" y="1799"/>
                </a:cubicBezTo>
                <a:cubicBezTo>
                  <a:pt x="503" y="1753"/>
                  <a:pt x="549" y="1708"/>
                  <a:pt x="595" y="1708"/>
                </a:cubicBezTo>
                <a:cubicBezTo>
                  <a:pt x="639" y="1708"/>
                  <a:pt x="685" y="1753"/>
                  <a:pt x="685" y="1799"/>
                </a:cubicBezTo>
                <a:cubicBezTo>
                  <a:pt x="685" y="1845"/>
                  <a:pt x="639" y="1875"/>
                  <a:pt x="595" y="1875"/>
                </a:cubicBezTo>
                <a:close/>
                <a:moveTo>
                  <a:pt x="1066" y="1631"/>
                </a:moveTo>
                <a:lnTo>
                  <a:pt x="1066" y="1631"/>
                </a:lnTo>
                <a:cubicBezTo>
                  <a:pt x="1066" y="1647"/>
                  <a:pt x="1051" y="1647"/>
                  <a:pt x="1036" y="1647"/>
                </a:cubicBezTo>
                <a:cubicBezTo>
                  <a:pt x="152" y="1647"/>
                  <a:pt x="152" y="1647"/>
                  <a:pt x="152" y="1647"/>
                </a:cubicBezTo>
                <a:cubicBezTo>
                  <a:pt x="137" y="1647"/>
                  <a:pt x="122" y="1647"/>
                  <a:pt x="122" y="1631"/>
                </a:cubicBezTo>
                <a:cubicBezTo>
                  <a:pt x="122" y="305"/>
                  <a:pt x="122" y="305"/>
                  <a:pt x="122" y="305"/>
                </a:cubicBezTo>
                <a:cubicBezTo>
                  <a:pt x="122" y="290"/>
                  <a:pt x="137" y="275"/>
                  <a:pt x="152" y="275"/>
                </a:cubicBezTo>
                <a:cubicBezTo>
                  <a:pt x="1036" y="275"/>
                  <a:pt x="1036" y="275"/>
                  <a:pt x="1036" y="275"/>
                </a:cubicBezTo>
                <a:cubicBezTo>
                  <a:pt x="1051" y="275"/>
                  <a:pt x="1066" y="290"/>
                  <a:pt x="1066" y="305"/>
                </a:cubicBezTo>
                <a:cubicBezTo>
                  <a:pt x="1066" y="1631"/>
                  <a:pt x="1066" y="1631"/>
                  <a:pt x="1066" y="16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31" name="Group 100">
            <a:extLst>
              <a:ext uri="{FF2B5EF4-FFF2-40B4-BE49-F238E27FC236}">
                <a16:creationId xmlns:a16="http://schemas.microsoft.com/office/drawing/2014/main" id="{7884694B-B8B7-40C2-DBBF-81C347659851}"/>
              </a:ext>
            </a:extLst>
          </p:cNvPr>
          <p:cNvGrpSpPr>
            <a:grpSpLocks/>
          </p:cNvGrpSpPr>
          <p:nvPr/>
        </p:nvGrpSpPr>
        <p:grpSpPr bwMode="auto">
          <a:xfrm>
            <a:off x="1956981" y="3261637"/>
            <a:ext cx="373741" cy="254831"/>
            <a:chOff x="8869363" y="2330450"/>
            <a:chExt cx="893762" cy="595313"/>
          </a:xfrm>
          <a:solidFill>
            <a:schemeClr val="accent1"/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FB1933A0-E812-AD33-EA5B-5CB544B95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363" y="2330450"/>
              <a:ext cx="523043" cy="595313"/>
            </a:xfrm>
            <a:custGeom>
              <a:avLst/>
              <a:gdLst>
                <a:gd name="T0" fmla="*/ 2147483646 w 1452"/>
                <a:gd name="T1" fmla="*/ 2147483646 h 1654"/>
                <a:gd name="T2" fmla="*/ 2147483646 w 1452"/>
                <a:gd name="T3" fmla="*/ 2147483646 h 1654"/>
                <a:gd name="T4" fmla="*/ 2147483646 w 1452"/>
                <a:gd name="T5" fmla="*/ 2147483646 h 1654"/>
                <a:gd name="T6" fmla="*/ 2147483646 w 1452"/>
                <a:gd name="T7" fmla="*/ 2147483646 h 1654"/>
                <a:gd name="T8" fmla="*/ 2147483646 w 1452"/>
                <a:gd name="T9" fmla="*/ 2147483646 h 1654"/>
                <a:gd name="T10" fmla="*/ 2147483646 w 1452"/>
                <a:gd name="T11" fmla="*/ 2147483646 h 1654"/>
                <a:gd name="T12" fmla="*/ 2147483646 w 1452"/>
                <a:gd name="T13" fmla="*/ 2147483646 h 1654"/>
                <a:gd name="T14" fmla="*/ 2147483646 w 1452"/>
                <a:gd name="T15" fmla="*/ 2147483646 h 1654"/>
                <a:gd name="T16" fmla="*/ 2147483646 w 1452"/>
                <a:gd name="T17" fmla="*/ 0 h 1654"/>
                <a:gd name="T18" fmla="*/ 2147483646 w 1452"/>
                <a:gd name="T19" fmla="*/ 0 h 1654"/>
                <a:gd name="T20" fmla="*/ 0 w 1452"/>
                <a:gd name="T21" fmla="*/ 2147483646 h 1654"/>
                <a:gd name="T22" fmla="*/ 0 w 1452"/>
                <a:gd name="T23" fmla="*/ 2147483646 h 1654"/>
                <a:gd name="T24" fmla="*/ 2147483646 w 1452"/>
                <a:gd name="T25" fmla="*/ 2147483646 h 1654"/>
                <a:gd name="T26" fmla="*/ 2147483646 w 1452"/>
                <a:gd name="T27" fmla="*/ 2147483646 h 1654"/>
                <a:gd name="T28" fmla="*/ 2147483646 w 1452"/>
                <a:gd name="T29" fmla="*/ 2147483646 h 1654"/>
                <a:gd name="T30" fmla="*/ 2147483646 w 1452"/>
                <a:gd name="T31" fmla="*/ 2147483646 h 1654"/>
                <a:gd name="T32" fmla="*/ 2147483646 w 1452"/>
                <a:gd name="T33" fmla="*/ 2147483646 h 1654"/>
                <a:gd name="T34" fmla="*/ 2147483646 w 1452"/>
                <a:gd name="T35" fmla="*/ 2147483646 h 1654"/>
                <a:gd name="T36" fmla="*/ 2147483646 w 1452"/>
                <a:gd name="T37" fmla="*/ 2147483646 h 1654"/>
                <a:gd name="T38" fmla="*/ 2147483646 w 1452"/>
                <a:gd name="T39" fmla="*/ 2147483646 h 1654"/>
                <a:gd name="T40" fmla="*/ 2147483646 w 1452"/>
                <a:gd name="T41" fmla="*/ 2147483646 h 1654"/>
                <a:gd name="T42" fmla="*/ 2147483646 w 1452"/>
                <a:gd name="T43" fmla="*/ 2147483646 h 1654"/>
                <a:gd name="T44" fmla="*/ 2147483646 w 1452"/>
                <a:gd name="T45" fmla="*/ 2147483646 h 1654"/>
                <a:gd name="T46" fmla="*/ 2147483646 w 1452"/>
                <a:gd name="T47" fmla="*/ 2147483646 h 165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2" h="1654">
                  <a:moveTo>
                    <a:pt x="1146" y="1180"/>
                  </a:moveTo>
                  <a:lnTo>
                    <a:pt x="1146" y="1180"/>
                  </a:lnTo>
                  <a:cubicBezTo>
                    <a:pt x="1233" y="1005"/>
                    <a:pt x="1233" y="1005"/>
                    <a:pt x="1233" y="1005"/>
                  </a:cubicBezTo>
                  <a:cubicBezTo>
                    <a:pt x="1241" y="988"/>
                    <a:pt x="1238" y="962"/>
                    <a:pt x="1225" y="944"/>
                  </a:cubicBezTo>
                  <a:cubicBezTo>
                    <a:pt x="1050" y="774"/>
                    <a:pt x="1050" y="774"/>
                    <a:pt x="1050" y="774"/>
                  </a:cubicBezTo>
                  <a:cubicBezTo>
                    <a:pt x="1434" y="293"/>
                    <a:pt x="1434" y="293"/>
                    <a:pt x="1434" y="293"/>
                  </a:cubicBezTo>
                  <a:cubicBezTo>
                    <a:pt x="1451" y="271"/>
                    <a:pt x="1447" y="241"/>
                    <a:pt x="1425" y="219"/>
                  </a:cubicBezTo>
                  <a:cubicBezTo>
                    <a:pt x="1185" y="13"/>
                    <a:pt x="1185" y="13"/>
                    <a:pt x="1185" y="13"/>
                  </a:cubicBezTo>
                  <a:cubicBezTo>
                    <a:pt x="1176" y="4"/>
                    <a:pt x="1163" y="0"/>
                    <a:pt x="1155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92" y="0"/>
                    <a:pt x="0" y="96"/>
                    <a:pt x="0" y="210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1561"/>
                    <a:pt x="92" y="1653"/>
                    <a:pt x="206" y="1653"/>
                  </a:cubicBezTo>
                  <a:cubicBezTo>
                    <a:pt x="1190" y="1653"/>
                    <a:pt x="1190" y="1653"/>
                    <a:pt x="1190" y="1653"/>
                  </a:cubicBezTo>
                  <a:cubicBezTo>
                    <a:pt x="1207" y="1653"/>
                    <a:pt x="1225" y="1644"/>
                    <a:pt x="1233" y="1627"/>
                  </a:cubicBezTo>
                  <a:cubicBezTo>
                    <a:pt x="1337" y="1421"/>
                    <a:pt x="1337" y="1421"/>
                    <a:pt x="1337" y="1421"/>
                  </a:cubicBezTo>
                  <a:cubicBezTo>
                    <a:pt x="1346" y="1399"/>
                    <a:pt x="1342" y="1377"/>
                    <a:pt x="1324" y="1360"/>
                  </a:cubicBezTo>
                  <a:lnTo>
                    <a:pt x="1146" y="1180"/>
                  </a:lnTo>
                  <a:close/>
                  <a:moveTo>
                    <a:pt x="101" y="621"/>
                  </a:moveTo>
                  <a:lnTo>
                    <a:pt x="101" y="621"/>
                  </a:lnTo>
                  <a:cubicBezTo>
                    <a:pt x="101" y="416"/>
                    <a:pt x="101" y="416"/>
                    <a:pt x="101" y="416"/>
                  </a:cubicBezTo>
                  <a:cubicBezTo>
                    <a:pt x="1203" y="416"/>
                    <a:pt x="1203" y="416"/>
                    <a:pt x="1203" y="416"/>
                  </a:cubicBezTo>
                  <a:cubicBezTo>
                    <a:pt x="1037" y="621"/>
                    <a:pt x="1037" y="621"/>
                    <a:pt x="1037" y="621"/>
                  </a:cubicBezTo>
                  <a:lnTo>
                    <a:pt x="101" y="6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5CF9AF25-0A8A-2C53-022E-5D62DCC9F9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3491" y="2330450"/>
              <a:ext cx="449634" cy="595313"/>
            </a:xfrm>
            <a:custGeom>
              <a:avLst/>
              <a:gdLst>
                <a:gd name="T0" fmla="*/ 2147483646 w 1247"/>
                <a:gd name="T1" fmla="*/ 0 h 1654"/>
                <a:gd name="T2" fmla="*/ 2147483646 w 1247"/>
                <a:gd name="T3" fmla="*/ 0 h 1654"/>
                <a:gd name="T4" fmla="*/ 2147483646 w 1247"/>
                <a:gd name="T5" fmla="*/ 0 h 1654"/>
                <a:gd name="T6" fmla="*/ 2147483646 w 1247"/>
                <a:gd name="T7" fmla="*/ 2147483646 h 1654"/>
                <a:gd name="T8" fmla="*/ 2147483646 w 1247"/>
                <a:gd name="T9" fmla="*/ 2147483646 h 1654"/>
                <a:gd name="T10" fmla="*/ 2147483646 w 1247"/>
                <a:gd name="T11" fmla="*/ 2147483646 h 1654"/>
                <a:gd name="T12" fmla="*/ 2147483646 w 1247"/>
                <a:gd name="T13" fmla="*/ 2147483646 h 1654"/>
                <a:gd name="T14" fmla="*/ 2147483646 w 1247"/>
                <a:gd name="T15" fmla="*/ 2147483646 h 1654"/>
                <a:gd name="T16" fmla="*/ 2147483646 w 1247"/>
                <a:gd name="T17" fmla="*/ 2147483646 h 1654"/>
                <a:gd name="T18" fmla="*/ 2147483646 w 1247"/>
                <a:gd name="T19" fmla="*/ 2147483646 h 1654"/>
                <a:gd name="T20" fmla="*/ 2147483646 w 1247"/>
                <a:gd name="T21" fmla="*/ 2147483646 h 1654"/>
                <a:gd name="T22" fmla="*/ 2147483646 w 1247"/>
                <a:gd name="T23" fmla="*/ 2147483646 h 1654"/>
                <a:gd name="T24" fmla="*/ 2147483646 w 1247"/>
                <a:gd name="T25" fmla="*/ 2147483646 h 1654"/>
                <a:gd name="T26" fmla="*/ 2147483646 w 1247"/>
                <a:gd name="T27" fmla="*/ 2147483646 h 1654"/>
                <a:gd name="T28" fmla="*/ 2147483646 w 1247"/>
                <a:gd name="T29" fmla="*/ 2147483646 h 1654"/>
                <a:gd name="T30" fmla="*/ 2147483646 w 1247"/>
                <a:gd name="T31" fmla="*/ 2147483646 h 1654"/>
                <a:gd name="T32" fmla="*/ 2147483646 w 1247"/>
                <a:gd name="T33" fmla="*/ 2147483646 h 1654"/>
                <a:gd name="T34" fmla="*/ 2147483646 w 1247"/>
                <a:gd name="T35" fmla="*/ 2147483646 h 1654"/>
                <a:gd name="T36" fmla="*/ 2147483646 w 1247"/>
                <a:gd name="T37" fmla="*/ 0 h 1654"/>
                <a:gd name="T38" fmla="*/ 2147483646 w 1247"/>
                <a:gd name="T39" fmla="*/ 2147483646 h 1654"/>
                <a:gd name="T40" fmla="*/ 2147483646 w 1247"/>
                <a:gd name="T41" fmla="*/ 2147483646 h 1654"/>
                <a:gd name="T42" fmla="*/ 2147483646 w 1247"/>
                <a:gd name="T43" fmla="*/ 2147483646 h 1654"/>
                <a:gd name="T44" fmla="*/ 2147483646 w 1247"/>
                <a:gd name="T45" fmla="*/ 2147483646 h 1654"/>
                <a:gd name="T46" fmla="*/ 2147483646 w 1247"/>
                <a:gd name="T47" fmla="*/ 2147483646 h 1654"/>
                <a:gd name="T48" fmla="*/ 2147483646 w 1247"/>
                <a:gd name="T49" fmla="*/ 2147483646 h 16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47" h="1654">
                  <a:moveTo>
                    <a:pt x="1040" y="0"/>
                  </a:moveTo>
                  <a:lnTo>
                    <a:pt x="1040" y="0"/>
                  </a:lnTo>
                  <a:cubicBezTo>
                    <a:pt x="231" y="0"/>
                    <a:pt x="231" y="0"/>
                    <a:pt x="231" y="0"/>
                  </a:cubicBezTo>
                  <a:cubicBezTo>
                    <a:pt x="209" y="0"/>
                    <a:pt x="187" y="13"/>
                    <a:pt x="179" y="35"/>
                  </a:cubicBezTo>
                  <a:cubicBezTo>
                    <a:pt x="174" y="57"/>
                    <a:pt x="179" y="79"/>
                    <a:pt x="196" y="92"/>
                  </a:cubicBezTo>
                  <a:cubicBezTo>
                    <a:pt x="397" y="267"/>
                    <a:pt x="397" y="267"/>
                    <a:pt x="397" y="267"/>
                  </a:cubicBezTo>
                  <a:cubicBezTo>
                    <a:pt x="17" y="744"/>
                    <a:pt x="17" y="744"/>
                    <a:pt x="17" y="744"/>
                  </a:cubicBezTo>
                  <a:cubicBezTo>
                    <a:pt x="0" y="766"/>
                    <a:pt x="5" y="796"/>
                    <a:pt x="21" y="814"/>
                  </a:cubicBezTo>
                  <a:cubicBezTo>
                    <a:pt x="201" y="992"/>
                    <a:pt x="201" y="992"/>
                    <a:pt x="201" y="992"/>
                  </a:cubicBezTo>
                  <a:cubicBezTo>
                    <a:pt x="113" y="1167"/>
                    <a:pt x="113" y="1167"/>
                    <a:pt x="113" y="1167"/>
                  </a:cubicBezTo>
                  <a:cubicBezTo>
                    <a:pt x="104" y="1185"/>
                    <a:pt x="109" y="1211"/>
                    <a:pt x="122" y="1224"/>
                  </a:cubicBezTo>
                  <a:cubicBezTo>
                    <a:pt x="306" y="1408"/>
                    <a:pt x="306" y="1408"/>
                    <a:pt x="306" y="1408"/>
                  </a:cubicBezTo>
                  <a:cubicBezTo>
                    <a:pt x="218" y="1579"/>
                    <a:pt x="218" y="1579"/>
                    <a:pt x="218" y="1579"/>
                  </a:cubicBezTo>
                  <a:cubicBezTo>
                    <a:pt x="209" y="1596"/>
                    <a:pt x="209" y="1614"/>
                    <a:pt x="218" y="1631"/>
                  </a:cubicBezTo>
                  <a:cubicBezTo>
                    <a:pt x="231" y="1644"/>
                    <a:pt x="244" y="1653"/>
                    <a:pt x="262" y="1653"/>
                  </a:cubicBezTo>
                  <a:cubicBezTo>
                    <a:pt x="1040" y="1653"/>
                    <a:pt x="1040" y="1653"/>
                    <a:pt x="1040" y="1653"/>
                  </a:cubicBezTo>
                  <a:cubicBezTo>
                    <a:pt x="1154" y="1653"/>
                    <a:pt x="1246" y="1561"/>
                    <a:pt x="1246" y="1447"/>
                  </a:cubicBezTo>
                  <a:cubicBezTo>
                    <a:pt x="1246" y="210"/>
                    <a:pt x="1246" y="210"/>
                    <a:pt x="1246" y="210"/>
                  </a:cubicBezTo>
                  <a:cubicBezTo>
                    <a:pt x="1246" y="96"/>
                    <a:pt x="1154" y="0"/>
                    <a:pt x="1040" y="0"/>
                  </a:cubicBezTo>
                  <a:close/>
                  <a:moveTo>
                    <a:pt x="1141" y="621"/>
                  </a:moveTo>
                  <a:lnTo>
                    <a:pt x="1141" y="621"/>
                  </a:lnTo>
                  <a:cubicBezTo>
                    <a:pt x="249" y="621"/>
                    <a:pt x="249" y="621"/>
                    <a:pt x="249" y="621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1141" y="416"/>
                    <a:pt x="1141" y="416"/>
                    <a:pt x="1141" y="416"/>
                  </a:cubicBezTo>
                  <a:cubicBezTo>
                    <a:pt x="1141" y="621"/>
                    <a:pt x="1141" y="621"/>
                    <a:pt x="1141" y="62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34" name="Group 53">
            <a:extLst>
              <a:ext uri="{FF2B5EF4-FFF2-40B4-BE49-F238E27FC236}">
                <a16:creationId xmlns:a16="http://schemas.microsoft.com/office/drawing/2014/main" id="{4BE41644-998C-B8B9-880F-01A5F908AD52}"/>
              </a:ext>
            </a:extLst>
          </p:cNvPr>
          <p:cNvGrpSpPr>
            <a:grpSpLocks/>
          </p:cNvGrpSpPr>
          <p:nvPr/>
        </p:nvGrpSpPr>
        <p:grpSpPr bwMode="auto">
          <a:xfrm>
            <a:off x="4070445" y="4111678"/>
            <a:ext cx="279635" cy="453375"/>
            <a:chOff x="2707" y="2707"/>
            <a:chExt cx="269" cy="438"/>
          </a:xfrm>
          <a:solidFill>
            <a:schemeClr val="accent1"/>
          </a:solidFill>
        </p:grpSpPr>
        <p:sp>
          <p:nvSpPr>
            <p:cNvPr id="35" name="Freeform 54">
              <a:extLst>
                <a:ext uri="{FF2B5EF4-FFF2-40B4-BE49-F238E27FC236}">
                  <a16:creationId xmlns:a16="http://schemas.microsoft.com/office/drawing/2014/main" id="{78FE8022-5C10-6080-5271-53890C9E0B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7" y="2707"/>
              <a:ext cx="269" cy="438"/>
            </a:xfrm>
            <a:custGeom>
              <a:avLst/>
              <a:gdLst>
                <a:gd name="T0" fmla="*/ 0 w 1190"/>
                <a:gd name="T1" fmla="*/ 0 h 1938"/>
                <a:gd name="T2" fmla="*/ 0 w 1190"/>
                <a:gd name="T3" fmla="*/ 0 h 1938"/>
                <a:gd name="T4" fmla="*/ 0 w 1190"/>
                <a:gd name="T5" fmla="*/ 0 h 1938"/>
                <a:gd name="T6" fmla="*/ 0 w 1190"/>
                <a:gd name="T7" fmla="*/ 0 h 1938"/>
                <a:gd name="T8" fmla="*/ 0 w 1190"/>
                <a:gd name="T9" fmla="*/ 0 h 1938"/>
                <a:gd name="T10" fmla="*/ 0 w 1190"/>
                <a:gd name="T11" fmla="*/ 0 h 1938"/>
                <a:gd name="T12" fmla="*/ 0 w 1190"/>
                <a:gd name="T13" fmla="*/ 0 h 1938"/>
                <a:gd name="T14" fmla="*/ 0 w 1190"/>
                <a:gd name="T15" fmla="*/ 0 h 1938"/>
                <a:gd name="T16" fmla="*/ 0 w 1190"/>
                <a:gd name="T17" fmla="*/ 0 h 1938"/>
                <a:gd name="T18" fmla="*/ 0 w 1190"/>
                <a:gd name="T19" fmla="*/ 0 h 1938"/>
                <a:gd name="T20" fmla="*/ 0 w 1190"/>
                <a:gd name="T21" fmla="*/ 0 h 1938"/>
                <a:gd name="T22" fmla="*/ 0 w 1190"/>
                <a:gd name="T23" fmla="*/ 0 h 1938"/>
                <a:gd name="T24" fmla="*/ 0 w 1190"/>
                <a:gd name="T25" fmla="*/ 0 h 1938"/>
                <a:gd name="T26" fmla="*/ 0 w 1190"/>
                <a:gd name="T27" fmla="*/ 0 h 1938"/>
                <a:gd name="T28" fmla="*/ 0 w 1190"/>
                <a:gd name="T29" fmla="*/ 0 h 1938"/>
                <a:gd name="T30" fmla="*/ 0 w 1190"/>
                <a:gd name="T31" fmla="*/ 0 h 1938"/>
                <a:gd name="T32" fmla="*/ 0 w 1190"/>
                <a:gd name="T33" fmla="*/ 0 h 1938"/>
                <a:gd name="T34" fmla="*/ 0 w 1190"/>
                <a:gd name="T35" fmla="*/ 0 h 1938"/>
                <a:gd name="T36" fmla="*/ 0 w 1190"/>
                <a:gd name="T37" fmla="*/ 0 h 1938"/>
                <a:gd name="T38" fmla="*/ 0 w 1190"/>
                <a:gd name="T39" fmla="*/ 0 h 1938"/>
                <a:gd name="T40" fmla="*/ 0 w 1190"/>
                <a:gd name="T41" fmla="*/ 0 h 1938"/>
                <a:gd name="T42" fmla="*/ 0 w 1190"/>
                <a:gd name="T43" fmla="*/ 0 h 1938"/>
                <a:gd name="T44" fmla="*/ 0 w 1190"/>
                <a:gd name="T45" fmla="*/ 0 h 1938"/>
                <a:gd name="T46" fmla="*/ 0 w 1190"/>
                <a:gd name="T47" fmla="*/ 0 h 1938"/>
                <a:gd name="T48" fmla="*/ 0 w 1190"/>
                <a:gd name="T49" fmla="*/ 0 h 1938"/>
                <a:gd name="T50" fmla="*/ 0 w 1190"/>
                <a:gd name="T51" fmla="*/ 0 h 1938"/>
                <a:gd name="T52" fmla="*/ 0 w 1190"/>
                <a:gd name="T53" fmla="*/ 0 h 1938"/>
                <a:gd name="T54" fmla="*/ 0 w 1190"/>
                <a:gd name="T55" fmla="*/ 0 h 1938"/>
                <a:gd name="T56" fmla="*/ 0 w 1190"/>
                <a:gd name="T57" fmla="*/ 0 h 1938"/>
                <a:gd name="T58" fmla="*/ 0 w 1190"/>
                <a:gd name="T59" fmla="*/ 0 h 1938"/>
                <a:gd name="T60" fmla="*/ 0 w 1190"/>
                <a:gd name="T61" fmla="*/ 0 h 1938"/>
                <a:gd name="T62" fmla="*/ 0 w 1190"/>
                <a:gd name="T63" fmla="*/ 0 h 1938"/>
                <a:gd name="T64" fmla="*/ 0 w 1190"/>
                <a:gd name="T65" fmla="*/ 0 h 1938"/>
                <a:gd name="T66" fmla="*/ 0 w 1190"/>
                <a:gd name="T67" fmla="*/ 0 h 1938"/>
                <a:gd name="T68" fmla="*/ 0 w 1190"/>
                <a:gd name="T69" fmla="*/ 0 h 19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90" h="1938">
                  <a:moveTo>
                    <a:pt x="1036" y="0"/>
                  </a:moveTo>
                  <a:lnTo>
                    <a:pt x="1036" y="0"/>
                  </a:lnTo>
                  <a:cubicBezTo>
                    <a:pt x="152" y="0"/>
                    <a:pt x="152" y="0"/>
                    <a:pt x="152" y="0"/>
                  </a:cubicBezTo>
                  <a:cubicBezTo>
                    <a:pt x="76" y="0"/>
                    <a:pt x="0" y="61"/>
                    <a:pt x="0" y="153"/>
                  </a:cubicBezTo>
                  <a:cubicBezTo>
                    <a:pt x="0" y="1784"/>
                    <a:pt x="0" y="1784"/>
                    <a:pt x="0" y="1784"/>
                  </a:cubicBezTo>
                  <a:cubicBezTo>
                    <a:pt x="0" y="1860"/>
                    <a:pt x="76" y="1937"/>
                    <a:pt x="152" y="1937"/>
                  </a:cubicBezTo>
                  <a:cubicBezTo>
                    <a:pt x="1036" y="1937"/>
                    <a:pt x="1036" y="1937"/>
                    <a:pt x="1036" y="1937"/>
                  </a:cubicBezTo>
                  <a:cubicBezTo>
                    <a:pt x="1112" y="1937"/>
                    <a:pt x="1189" y="1860"/>
                    <a:pt x="1189" y="1784"/>
                  </a:cubicBezTo>
                  <a:cubicBezTo>
                    <a:pt x="1189" y="153"/>
                    <a:pt x="1189" y="153"/>
                    <a:pt x="1189" y="153"/>
                  </a:cubicBezTo>
                  <a:cubicBezTo>
                    <a:pt x="1189" y="61"/>
                    <a:pt x="1112" y="0"/>
                    <a:pt x="1036" y="0"/>
                  </a:cubicBezTo>
                  <a:close/>
                  <a:moveTo>
                    <a:pt x="457" y="137"/>
                  </a:moveTo>
                  <a:lnTo>
                    <a:pt x="457" y="137"/>
                  </a:lnTo>
                  <a:cubicBezTo>
                    <a:pt x="457" y="122"/>
                    <a:pt x="473" y="92"/>
                    <a:pt x="488" y="92"/>
                  </a:cubicBezTo>
                  <a:cubicBezTo>
                    <a:pt x="700" y="92"/>
                    <a:pt x="700" y="92"/>
                    <a:pt x="700" y="92"/>
                  </a:cubicBezTo>
                  <a:cubicBezTo>
                    <a:pt x="716" y="92"/>
                    <a:pt x="731" y="122"/>
                    <a:pt x="731" y="137"/>
                  </a:cubicBezTo>
                  <a:cubicBezTo>
                    <a:pt x="731" y="153"/>
                    <a:pt x="716" y="183"/>
                    <a:pt x="700" y="183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73" y="183"/>
                    <a:pt x="457" y="153"/>
                    <a:pt x="457" y="137"/>
                  </a:cubicBezTo>
                  <a:close/>
                  <a:moveTo>
                    <a:pt x="595" y="1875"/>
                  </a:moveTo>
                  <a:lnTo>
                    <a:pt x="595" y="1875"/>
                  </a:lnTo>
                  <a:cubicBezTo>
                    <a:pt x="549" y="1875"/>
                    <a:pt x="503" y="1845"/>
                    <a:pt x="503" y="1799"/>
                  </a:cubicBezTo>
                  <a:cubicBezTo>
                    <a:pt x="503" y="1753"/>
                    <a:pt x="549" y="1708"/>
                    <a:pt x="595" y="1708"/>
                  </a:cubicBezTo>
                  <a:cubicBezTo>
                    <a:pt x="639" y="1708"/>
                    <a:pt x="685" y="1753"/>
                    <a:pt x="685" y="1799"/>
                  </a:cubicBezTo>
                  <a:cubicBezTo>
                    <a:pt x="685" y="1845"/>
                    <a:pt x="639" y="1875"/>
                    <a:pt x="595" y="1875"/>
                  </a:cubicBezTo>
                  <a:close/>
                  <a:moveTo>
                    <a:pt x="1066" y="1631"/>
                  </a:moveTo>
                  <a:lnTo>
                    <a:pt x="1066" y="1631"/>
                  </a:lnTo>
                  <a:cubicBezTo>
                    <a:pt x="1066" y="1647"/>
                    <a:pt x="1051" y="1647"/>
                    <a:pt x="1036" y="1647"/>
                  </a:cubicBezTo>
                  <a:cubicBezTo>
                    <a:pt x="152" y="1647"/>
                    <a:pt x="152" y="1647"/>
                    <a:pt x="152" y="1647"/>
                  </a:cubicBezTo>
                  <a:cubicBezTo>
                    <a:pt x="137" y="1647"/>
                    <a:pt x="122" y="1647"/>
                    <a:pt x="122" y="163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2" y="290"/>
                    <a:pt x="137" y="275"/>
                    <a:pt x="152" y="275"/>
                  </a:cubicBezTo>
                  <a:cubicBezTo>
                    <a:pt x="1036" y="275"/>
                    <a:pt x="1036" y="275"/>
                    <a:pt x="1036" y="275"/>
                  </a:cubicBezTo>
                  <a:cubicBezTo>
                    <a:pt x="1051" y="275"/>
                    <a:pt x="1066" y="290"/>
                    <a:pt x="1066" y="305"/>
                  </a:cubicBezTo>
                  <a:cubicBezTo>
                    <a:pt x="1066" y="1631"/>
                    <a:pt x="1066" y="1631"/>
                    <a:pt x="1066" y="16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6" name="Freeform 55">
              <a:extLst>
                <a:ext uri="{FF2B5EF4-FFF2-40B4-BE49-F238E27FC236}">
                  <a16:creationId xmlns:a16="http://schemas.microsoft.com/office/drawing/2014/main" id="{0ECB1A83-301F-0BBA-5483-761CC6084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155" cy="155"/>
            </a:xfrm>
            <a:custGeom>
              <a:avLst/>
              <a:gdLst>
                <a:gd name="T0" fmla="*/ 0 w 686"/>
                <a:gd name="T1" fmla="*/ 0 h 687"/>
                <a:gd name="T2" fmla="*/ 0 w 686"/>
                <a:gd name="T3" fmla="*/ 0 h 687"/>
                <a:gd name="T4" fmla="*/ 0 w 686"/>
                <a:gd name="T5" fmla="*/ 0 h 687"/>
                <a:gd name="T6" fmla="*/ 0 w 686"/>
                <a:gd name="T7" fmla="*/ 0 h 687"/>
                <a:gd name="T8" fmla="*/ 0 w 686"/>
                <a:gd name="T9" fmla="*/ 0 h 687"/>
                <a:gd name="T10" fmla="*/ 0 w 686"/>
                <a:gd name="T11" fmla="*/ 0 h 687"/>
                <a:gd name="T12" fmla="*/ 0 w 686"/>
                <a:gd name="T13" fmla="*/ 0 h 687"/>
                <a:gd name="T14" fmla="*/ 0 w 686"/>
                <a:gd name="T15" fmla="*/ 0 h 68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86" h="687">
                  <a:moveTo>
                    <a:pt x="365" y="0"/>
                  </a:moveTo>
                  <a:lnTo>
                    <a:pt x="365" y="0"/>
                  </a:lnTo>
                  <a:cubicBezTo>
                    <a:pt x="365" y="304"/>
                    <a:pt x="365" y="304"/>
                    <a:pt x="365" y="304"/>
                  </a:cubicBezTo>
                  <a:cubicBezTo>
                    <a:pt x="365" y="335"/>
                    <a:pt x="336" y="365"/>
                    <a:pt x="305" y="365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15" y="533"/>
                    <a:pt x="168" y="686"/>
                    <a:pt x="350" y="670"/>
                  </a:cubicBezTo>
                  <a:cubicBezTo>
                    <a:pt x="518" y="655"/>
                    <a:pt x="655" y="518"/>
                    <a:pt x="670" y="350"/>
                  </a:cubicBezTo>
                  <a:cubicBezTo>
                    <a:pt x="685" y="168"/>
                    <a:pt x="548" y="15"/>
                    <a:pt x="36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7" name="Freeform 56">
              <a:extLst>
                <a:ext uri="{FF2B5EF4-FFF2-40B4-BE49-F238E27FC236}">
                  <a16:creationId xmlns:a16="http://schemas.microsoft.com/office/drawing/2014/main" id="{337637DA-E7FE-C04B-2636-F7542D536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68" cy="68"/>
            </a:xfrm>
            <a:custGeom>
              <a:avLst/>
              <a:gdLst>
                <a:gd name="T0" fmla="*/ 0 w 306"/>
                <a:gd name="T1" fmla="*/ 0 h 305"/>
                <a:gd name="T2" fmla="*/ 0 w 306"/>
                <a:gd name="T3" fmla="*/ 0 h 305"/>
                <a:gd name="T4" fmla="*/ 0 w 306"/>
                <a:gd name="T5" fmla="*/ 0 h 305"/>
                <a:gd name="T6" fmla="*/ 0 w 306"/>
                <a:gd name="T7" fmla="*/ 0 h 305"/>
                <a:gd name="T8" fmla="*/ 0 w 306"/>
                <a:gd name="T9" fmla="*/ 0 h 305"/>
                <a:gd name="T10" fmla="*/ 0 w 306"/>
                <a:gd name="T11" fmla="*/ 0 h 30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6" h="305">
                  <a:moveTo>
                    <a:pt x="305" y="275"/>
                  </a:moveTo>
                  <a:lnTo>
                    <a:pt x="305" y="275"/>
                  </a:lnTo>
                  <a:cubicBezTo>
                    <a:pt x="305" y="0"/>
                    <a:pt x="305" y="0"/>
                    <a:pt x="305" y="0"/>
                  </a:cubicBezTo>
                  <a:cubicBezTo>
                    <a:pt x="137" y="15"/>
                    <a:pt x="15" y="137"/>
                    <a:pt x="0" y="304"/>
                  </a:cubicBezTo>
                  <a:cubicBezTo>
                    <a:pt x="290" y="304"/>
                    <a:pt x="290" y="304"/>
                    <a:pt x="290" y="304"/>
                  </a:cubicBezTo>
                  <a:cubicBezTo>
                    <a:pt x="305" y="304"/>
                    <a:pt x="305" y="290"/>
                    <a:pt x="305" y="27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38" name="Group 184">
            <a:extLst>
              <a:ext uri="{FF2B5EF4-FFF2-40B4-BE49-F238E27FC236}">
                <a16:creationId xmlns:a16="http://schemas.microsoft.com/office/drawing/2014/main" id="{F6BE746F-D5D2-E570-0B23-E04B061CD505}"/>
              </a:ext>
            </a:extLst>
          </p:cNvPr>
          <p:cNvGrpSpPr>
            <a:grpSpLocks/>
          </p:cNvGrpSpPr>
          <p:nvPr/>
        </p:nvGrpSpPr>
        <p:grpSpPr bwMode="auto">
          <a:xfrm>
            <a:off x="2427375" y="2646354"/>
            <a:ext cx="397103" cy="397480"/>
            <a:chOff x="4147" y="173"/>
            <a:chExt cx="344" cy="345"/>
          </a:xfrm>
          <a:solidFill>
            <a:schemeClr val="accent1"/>
          </a:solidFill>
        </p:grpSpPr>
        <p:sp>
          <p:nvSpPr>
            <p:cNvPr id="39" name="Freeform 414">
              <a:extLst>
                <a:ext uri="{FF2B5EF4-FFF2-40B4-BE49-F238E27FC236}">
                  <a16:creationId xmlns:a16="http://schemas.microsoft.com/office/drawing/2014/main" id="{610CE0E7-62DF-DC97-503A-E45B8E7387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6" y="203"/>
              <a:ext cx="316" cy="315"/>
            </a:xfrm>
            <a:custGeom>
              <a:avLst/>
              <a:gdLst>
                <a:gd name="T0" fmla="*/ 0 w 1396"/>
                <a:gd name="T1" fmla="*/ 0 h 1394"/>
                <a:gd name="T2" fmla="*/ 0 w 1396"/>
                <a:gd name="T3" fmla="*/ 0 h 1394"/>
                <a:gd name="T4" fmla="*/ 0 w 1396"/>
                <a:gd name="T5" fmla="*/ 0 h 1394"/>
                <a:gd name="T6" fmla="*/ 0 w 1396"/>
                <a:gd name="T7" fmla="*/ 0 h 1394"/>
                <a:gd name="T8" fmla="*/ 0 w 1396"/>
                <a:gd name="T9" fmla="*/ 0 h 1394"/>
                <a:gd name="T10" fmla="*/ 0 w 1396"/>
                <a:gd name="T11" fmla="*/ 0 h 1394"/>
                <a:gd name="T12" fmla="*/ 0 w 1396"/>
                <a:gd name="T13" fmla="*/ 0 h 1394"/>
                <a:gd name="T14" fmla="*/ 0 w 1396"/>
                <a:gd name="T15" fmla="*/ 0 h 1394"/>
                <a:gd name="T16" fmla="*/ 0 w 1396"/>
                <a:gd name="T17" fmla="*/ 0 h 1394"/>
                <a:gd name="T18" fmla="*/ 0 w 1396"/>
                <a:gd name="T19" fmla="*/ 0 h 1394"/>
                <a:gd name="T20" fmla="*/ 0 w 1396"/>
                <a:gd name="T21" fmla="*/ 0 h 1394"/>
                <a:gd name="T22" fmla="*/ 0 w 1396"/>
                <a:gd name="T23" fmla="*/ 0 h 1394"/>
                <a:gd name="T24" fmla="*/ 0 w 1396"/>
                <a:gd name="T25" fmla="*/ 0 h 1394"/>
                <a:gd name="T26" fmla="*/ 0 w 1396"/>
                <a:gd name="T27" fmla="*/ 0 h 1394"/>
                <a:gd name="T28" fmla="*/ 0 w 1396"/>
                <a:gd name="T29" fmla="*/ 0 h 1394"/>
                <a:gd name="T30" fmla="*/ 0 w 1396"/>
                <a:gd name="T31" fmla="*/ 0 h 1394"/>
                <a:gd name="T32" fmla="*/ 0 w 1396"/>
                <a:gd name="T33" fmla="*/ 0 h 1394"/>
                <a:gd name="T34" fmla="*/ 0 w 1396"/>
                <a:gd name="T35" fmla="*/ 0 h 1394"/>
                <a:gd name="T36" fmla="*/ 0 w 1396"/>
                <a:gd name="T37" fmla="*/ 0 h 1394"/>
                <a:gd name="T38" fmla="*/ 0 w 1396"/>
                <a:gd name="T39" fmla="*/ 0 h 1394"/>
                <a:gd name="T40" fmla="*/ 0 w 1396"/>
                <a:gd name="T41" fmla="*/ 0 h 1394"/>
                <a:gd name="T42" fmla="*/ 0 w 1396"/>
                <a:gd name="T43" fmla="*/ 0 h 1394"/>
                <a:gd name="T44" fmla="*/ 0 w 1396"/>
                <a:gd name="T45" fmla="*/ 0 h 1394"/>
                <a:gd name="T46" fmla="*/ 0 w 1396"/>
                <a:gd name="T47" fmla="*/ 0 h 139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96" h="1394">
                  <a:moveTo>
                    <a:pt x="1163" y="874"/>
                  </a:moveTo>
                  <a:lnTo>
                    <a:pt x="1163" y="874"/>
                  </a:lnTo>
                  <a:cubicBezTo>
                    <a:pt x="1112" y="824"/>
                    <a:pt x="1051" y="824"/>
                    <a:pt x="1001" y="874"/>
                  </a:cubicBezTo>
                  <a:cubicBezTo>
                    <a:pt x="963" y="911"/>
                    <a:pt x="926" y="949"/>
                    <a:pt x="888" y="987"/>
                  </a:cubicBezTo>
                  <a:cubicBezTo>
                    <a:pt x="879" y="998"/>
                    <a:pt x="871" y="999"/>
                    <a:pt x="857" y="992"/>
                  </a:cubicBezTo>
                  <a:cubicBezTo>
                    <a:pt x="833" y="979"/>
                    <a:pt x="807" y="968"/>
                    <a:pt x="784" y="954"/>
                  </a:cubicBezTo>
                  <a:cubicBezTo>
                    <a:pt x="675" y="885"/>
                    <a:pt x="584" y="797"/>
                    <a:pt x="502" y="696"/>
                  </a:cubicBezTo>
                  <a:cubicBezTo>
                    <a:pt x="461" y="647"/>
                    <a:pt x="426" y="595"/>
                    <a:pt x="402" y="535"/>
                  </a:cubicBezTo>
                  <a:cubicBezTo>
                    <a:pt x="396" y="523"/>
                    <a:pt x="398" y="515"/>
                    <a:pt x="407" y="506"/>
                  </a:cubicBezTo>
                  <a:cubicBezTo>
                    <a:pt x="445" y="469"/>
                    <a:pt x="482" y="432"/>
                    <a:pt x="518" y="394"/>
                  </a:cubicBezTo>
                  <a:cubicBezTo>
                    <a:pt x="570" y="343"/>
                    <a:pt x="570" y="282"/>
                    <a:pt x="518" y="229"/>
                  </a:cubicBezTo>
                  <a:cubicBezTo>
                    <a:pt x="489" y="199"/>
                    <a:pt x="459" y="170"/>
                    <a:pt x="430" y="140"/>
                  </a:cubicBezTo>
                  <a:cubicBezTo>
                    <a:pt x="399" y="109"/>
                    <a:pt x="369" y="79"/>
                    <a:pt x="338" y="49"/>
                  </a:cubicBezTo>
                  <a:cubicBezTo>
                    <a:pt x="289" y="0"/>
                    <a:pt x="226" y="0"/>
                    <a:pt x="176" y="49"/>
                  </a:cubicBezTo>
                  <a:cubicBezTo>
                    <a:pt x="138" y="86"/>
                    <a:pt x="103" y="125"/>
                    <a:pt x="63" y="162"/>
                  </a:cubicBezTo>
                  <a:cubicBezTo>
                    <a:pt x="28" y="196"/>
                    <a:pt x="9" y="237"/>
                    <a:pt x="6" y="286"/>
                  </a:cubicBezTo>
                  <a:cubicBezTo>
                    <a:pt x="0" y="364"/>
                    <a:pt x="19" y="439"/>
                    <a:pt x="46" y="512"/>
                  </a:cubicBezTo>
                  <a:cubicBezTo>
                    <a:pt x="103" y="661"/>
                    <a:pt x="187" y="795"/>
                    <a:pt x="290" y="917"/>
                  </a:cubicBezTo>
                  <a:cubicBezTo>
                    <a:pt x="430" y="1083"/>
                    <a:pt x="596" y="1213"/>
                    <a:pt x="789" y="1308"/>
                  </a:cubicBezTo>
                  <a:cubicBezTo>
                    <a:pt x="877" y="1351"/>
                    <a:pt x="968" y="1383"/>
                    <a:pt x="1066" y="1389"/>
                  </a:cubicBezTo>
                  <a:cubicBezTo>
                    <a:pt x="1134" y="1393"/>
                    <a:pt x="1194" y="1375"/>
                    <a:pt x="1240" y="1322"/>
                  </a:cubicBezTo>
                  <a:cubicBezTo>
                    <a:pt x="1273" y="1287"/>
                    <a:pt x="1309" y="1253"/>
                    <a:pt x="1343" y="1219"/>
                  </a:cubicBezTo>
                  <a:cubicBezTo>
                    <a:pt x="1395" y="1167"/>
                    <a:pt x="1395" y="1105"/>
                    <a:pt x="1345" y="1055"/>
                  </a:cubicBezTo>
                  <a:cubicBezTo>
                    <a:pt x="1283" y="993"/>
                    <a:pt x="1224" y="934"/>
                    <a:pt x="1163" y="87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0" name="Freeform 415">
              <a:extLst>
                <a:ext uri="{FF2B5EF4-FFF2-40B4-BE49-F238E27FC236}">
                  <a16:creationId xmlns:a16="http://schemas.microsoft.com/office/drawing/2014/main" id="{742C394B-BB90-A32A-E702-9108AE8C2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8" y="242"/>
              <a:ext cx="104" cy="102"/>
            </a:xfrm>
            <a:custGeom>
              <a:avLst/>
              <a:gdLst>
                <a:gd name="T0" fmla="*/ 0 w 462"/>
                <a:gd name="T1" fmla="*/ 0 h 452"/>
                <a:gd name="T2" fmla="*/ 0 w 462"/>
                <a:gd name="T3" fmla="*/ 0 h 452"/>
                <a:gd name="T4" fmla="*/ 0 w 462"/>
                <a:gd name="T5" fmla="*/ 0 h 452"/>
                <a:gd name="T6" fmla="*/ 0 w 462"/>
                <a:gd name="T7" fmla="*/ 0 h 452"/>
                <a:gd name="T8" fmla="*/ 0 w 462"/>
                <a:gd name="T9" fmla="*/ 0 h 452"/>
                <a:gd name="T10" fmla="*/ 0 w 462"/>
                <a:gd name="T11" fmla="*/ 0 h 452"/>
                <a:gd name="T12" fmla="*/ 0 w 462"/>
                <a:gd name="T13" fmla="*/ 0 h 452"/>
                <a:gd name="T14" fmla="*/ 0 w 462"/>
                <a:gd name="T15" fmla="*/ 0 h 4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62" h="452">
                  <a:moveTo>
                    <a:pt x="344" y="451"/>
                  </a:moveTo>
                  <a:lnTo>
                    <a:pt x="344" y="451"/>
                  </a:lnTo>
                  <a:cubicBezTo>
                    <a:pt x="461" y="432"/>
                    <a:pt x="461" y="432"/>
                    <a:pt x="461" y="432"/>
                  </a:cubicBezTo>
                  <a:cubicBezTo>
                    <a:pt x="442" y="325"/>
                    <a:pt x="391" y="227"/>
                    <a:pt x="314" y="150"/>
                  </a:cubicBezTo>
                  <a:cubicBezTo>
                    <a:pt x="232" y="68"/>
                    <a:pt x="129" y="17"/>
                    <a:pt x="15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7" y="131"/>
                    <a:pt x="167" y="170"/>
                    <a:pt x="230" y="234"/>
                  </a:cubicBezTo>
                  <a:cubicBezTo>
                    <a:pt x="290" y="294"/>
                    <a:pt x="329" y="368"/>
                    <a:pt x="344" y="45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1" name="Freeform 416">
              <a:extLst>
                <a:ext uri="{FF2B5EF4-FFF2-40B4-BE49-F238E27FC236}">
                  <a16:creationId xmlns:a16="http://schemas.microsoft.com/office/drawing/2014/main" id="{BE1E36E8-E422-9CEF-B937-4E810A052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" y="173"/>
              <a:ext cx="170" cy="166"/>
            </a:xfrm>
            <a:custGeom>
              <a:avLst/>
              <a:gdLst>
                <a:gd name="T0" fmla="*/ 0 w 755"/>
                <a:gd name="T1" fmla="*/ 0 h 737"/>
                <a:gd name="T2" fmla="*/ 0 w 755"/>
                <a:gd name="T3" fmla="*/ 0 h 737"/>
                <a:gd name="T4" fmla="*/ 0 w 755"/>
                <a:gd name="T5" fmla="*/ 0 h 737"/>
                <a:gd name="T6" fmla="*/ 0 w 755"/>
                <a:gd name="T7" fmla="*/ 0 h 737"/>
                <a:gd name="T8" fmla="*/ 0 w 755"/>
                <a:gd name="T9" fmla="*/ 0 h 737"/>
                <a:gd name="T10" fmla="*/ 0 w 755"/>
                <a:gd name="T11" fmla="*/ 0 h 737"/>
                <a:gd name="T12" fmla="*/ 0 w 755"/>
                <a:gd name="T13" fmla="*/ 0 h 737"/>
                <a:gd name="T14" fmla="*/ 0 w 755"/>
                <a:gd name="T15" fmla="*/ 0 h 7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55" h="737">
                  <a:moveTo>
                    <a:pt x="511" y="247"/>
                  </a:moveTo>
                  <a:lnTo>
                    <a:pt x="511" y="247"/>
                  </a:lnTo>
                  <a:cubicBezTo>
                    <a:pt x="376" y="111"/>
                    <a:pt x="205" y="26"/>
                    <a:pt x="16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63" y="141"/>
                    <a:pt x="311" y="215"/>
                    <a:pt x="428" y="331"/>
                  </a:cubicBezTo>
                  <a:cubicBezTo>
                    <a:pt x="538" y="441"/>
                    <a:pt x="611" y="581"/>
                    <a:pt x="637" y="736"/>
                  </a:cubicBezTo>
                  <a:cubicBezTo>
                    <a:pt x="754" y="716"/>
                    <a:pt x="754" y="716"/>
                    <a:pt x="754" y="716"/>
                  </a:cubicBezTo>
                  <a:cubicBezTo>
                    <a:pt x="724" y="538"/>
                    <a:pt x="640" y="375"/>
                    <a:pt x="511" y="24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2" name="Group 1">
            <a:extLst>
              <a:ext uri="{FF2B5EF4-FFF2-40B4-BE49-F238E27FC236}">
                <a16:creationId xmlns:a16="http://schemas.microsoft.com/office/drawing/2014/main" id="{53D6EA8D-D9FD-200E-81C6-293ABB824CDC}"/>
              </a:ext>
            </a:extLst>
          </p:cNvPr>
          <p:cNvGrpSpPr>
            <a:grpSpLocks/>
          </p:cNvGrpSpPr>
          <p:nvPr/>
        </p:nvGrpSpPr>
        <p:grpSpPr bwMode="auto">
          <a:xfrm>
            <a:off x="2752888" y="4965176"/>
            <a:ext cx="473393" cy="464646"/>
            <a:chOff x="230" y="346"/>
            <a:chExt cx="402" cy="394"/>
          </a:xfrm>
          <a:solidFill>
            <a:schemeClr val="accent1"/>
          </a:solidFill>
        </p:grpSpPr>
        <p:sp>
          <p:nvSpPr>
            <p:cNvPr id="43" name="Freeform 2">
              <a:extLst>
                <a:ext uri="{FF2B5EF4-FFF2-40B4-BE49-F238E27FC236}">
                  <a16:creationId xmlns:a16="http://schemas.microsoft.com/office/drawing/2014/main" id="{43C020FF-E894-A729-DDD5-C359C3592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" y="643"/>
              <a:ext cx="97" cy="97"/>
            </a:xfrm>
            <a:custGeom>
              <a:avLst/>
              <a:gdLst>
                <a:gd name="T0" fmla="*/ 0 w 432"/>
                <a:gd name="T1" fmla="*/ 0 h 434"/>
                <a:gd name="T2" fmla="*/ 0 w 432"/>
                <a:gd name="T3" fmla="*/ 0 h 434"/>
                <a:gd name="T4" fmla="*/ 0 w 432"/>
                <a:gd name="T5" fmla="*/ 0 h 434"/>
                <a:gd name="T6" fmla="*/ 0 w 432"/>
                <a:gd name="T7" fmla="*/ 0 h 434"/>
                <a:gd name="T8" fmla="*/ 0 w 432"/>
                <a:gd name="T9" fmla="*/ 0 h 434"/>
                <a:gd name="T10" fmla="*/ 0 w 432"/>
                <a:gd name="T11" fmla="*/ 0 h 4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2" h="434">
                  <a:moveTo>
                    <a:pt x="215" y="0"/>
                  </a:moveTo>
                  <a:lnTo>
                    <a:pt x="215" y="0"/>
                  </a:lnTo>
                  <a:cubicBezTo>
                    <a:pt x="334" y="0"/>
                    <a:pt x="431" y="97"/>
                    <a:pt x="431" y="216"/>
                  </a:cubicBezTo>
                  <a:cubicBezTo>
                    <a:pt x="431" y="336"/>
                    <a:pt x="334" y="433"/>
                    <a:pt x="215" y="433"/>
                  </a:cubicBezTo>
                  <a:cubicBezTo>
                    <a:pt x="97" y="433"/>
                    <a:pt x="0" y="336"/>
                    <a:pt x="0" y="216"/>
                  </a:cubicBezTo>
                  <a:cubicBezTo>
                    <a:pt x="0" y="97"/>
                    <a:pt x="97" y="0"/>
                    <a:pt x="21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4" name="Freeform 3">
              <a:extLst>
                <a:ext uri="{FF2B5EF4-FFF2-40B4-BE49-F238E27FC236}">
                  <a16:creationId xmlns:a16="http://schemas.microsoft.com/office/drawing/2014/main" id="{ECA3C96A-8CC9-BFC5-9E9A-642EB98CD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" y="640"/>
              <a:ext cx="103" cy="100"/>
            </a:xfrm>
            <a:custGeom>
              <a:avLst/>
              <a:gdLst>
                <a:gd name="T0" fmla="*/ 0 w 457"/>
                <a:gd name="T1" fmla="*/ 0 h 447"/>
                <a:gd name="T2" fmla="*/ 0 w 457"/>
                <a:gd name="T3" fmla="*/ 0 h 447"/>
                <a:gd name="T4" fmla="*/ 0 w 457"/>
                <a:gd name="T5" fmla="*/ 0 h 447"/>
                <a:gd name="T6" fmla="*/ 0 w 457"/>
                <a:gd name="T7" fmla="*/ 0 h 447"/>
                <a:gd name="T8" fmla="*/ 0 w 457"/>
                <a:gd name="T9" fmla="*/ 0 h 447"/>
                <a:gd name="T10" fmla="*/ 0 w 457"/>
                <a:gd name="T11" fmla="*/ 0 h 447"/>
                <a:gd name="T12" fmla="*/ 0 w 457"/>
                <a:gd name="T13" fmla="*/ 0 h 447"/>
                <a:gd name="T14" fmla="*/ 0 w 457"/>
                <a:gd name="T15" fmla="*/ 0 h 4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57" h="447">
                  <a:moveTo>
                    <a:pt x="249" y="12"/>
                  </a:moveTo>
                  <a:lnTo>
                    <a:pt x="249" y="12"/>
                  </a:lnTo>
                  <a:cubicBezTo>
                    <a:pt x="130" y="0"/>
                    <a:pt x="22" y="88"/>
                    <a:pt x="11" y="207"/>
                  </a:cubicBezTo>
                  <a:cubicBezTo>
                    <a:pt x="0" y="327"/>
                    <a:pt x="87" y="433"/>
                    <a:pt x="206" y="446"/>
                  </a:cubicBezTo>
                  <a:cubicBezTo>
                    <a:pt x="220" y="446"/>
                    <a:pt x="234" y="446"/>
                    <a:pt x="249" y="446"/>
                  </a:cubicBezTo>
                  <a:cubicBezTo>
                    <a:pt x="369" y="433"/>
                    <a:pt x="456" y="327"/>
                    <a:pt x="444" y="207"/>
                  </a:cubicBezTo>
                  <a:cubicBezTo>
                    <a:pt x="434" y="104"/>
                    <a:pt x="352" y="21"/>
                    <a:pt x="249" y="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5" name="Freeform 4">
              <a:extLst>
                <a:ext uri="{FF2B5EF4-FFF2-40B4-BE49-F238E27FC236}">
                  <a16:creationId xmlns:a16="http://schemas.microsoft.com/office/drawing/2014/main" id="{7653A936-4B96-7DC6-D179-FFA21E4478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" y="346"/>
              <a:ext cx="403" cy="273"/>
            </a:xfrm>
            <a:custGeom>
              <a:avLst/>
              <a:gdLst>
                <a:gd name="T0" fmla="*/ 0 w 1782"/>
                <a:gd name="T1" fmla="*/ 0 h 1210"/>
                <a:gd name="T2" fmla="*/ 0 w 1782"/>
                <a:gd name="T3" fmla="*/ 0 h 1210"/>
                <a:gd name="T4" fmla="*/ 0 w 1782"/>
                <a:gd name="T5" fmla="*/ 0 h 1210"/>
                <a:gd name="T6" fmla="*/ 0 w 1782"/>
                <a:gd name="T7" fmla="*/ 0 h 1210"/>
                <a:gd name="T8" fmla="*/ 0 w 1782"/>
                <a:gd name="T9" fmla="*/ 0 h 1210"/>
                <a:gd name="T10" fmla="*/ 0 w 1782"/>
                <a:gd name="T11" fmla="*/ 0 h 1210"/>
                <a:gd name="T12" fmla="*/ 0 w 1782"/>
                <a:gd name="T13" fmla="*/ 0 h 1210"/>
                <a:gd name="T14" fmla="*/ 0 w 1782"/>
                <a:gd name="T15" fmla="*/ 0 h 1210"/>
                <a:gd name="T16" fmla="*/ 0 w 1782"/>
                <a:gd name="T17" fmla="*/ 0 h 1210"/>
                <a:gd name="T18" fmla="*/ 0 w 1782"/>
                <a:gd name="T19" fmla="*/ 0 h 1210"/>
                <a:gd name="T20" fmla="*/ 0 w 1782"/>
                <a:gd name="T21" fmla="*/ 0 h 1210"/>
                <a:gd name="T22" fmla="*/ 0 w 1782"/>
                <a:gd name="T23" fmla="*/ 0 h 1210"/>
                <a:gd name="T24" fmla="*/ 0 w 1782"/>
                <a:gd name="T25" fmla="*/ 0 h 1210"/>
                <a:gd name="T26" fmla="*/ 0 w 1782"/>
                <a:gd name="T27" fmla="*/ 0 h 1210"/>
                <a:gd name="T28" fmla="*/ 0 w 1782"/>
                <a:gd name="T29" fmla="*/ 0 h 1210"/>
                <a:gd name="T30" fmla="*/ 0 w 1782"/>
                <a:gd name="T31" fmla="*/ 0 h 1210"/>
                <a:gd name="T32" fmla="*/ 0 w 1782"/>
                <a:gd name="T33" fmla="*/ 0 h 1210"/>
                <a:gd name="T34" fmla="*/ 0 w 1782"/>
                <a:gd name="T35" fmla="*/ 0 h 1210"/>
                <a:gd name="T36" fmla="*/ 0 w 1782"/>
                <a:gd name="T37" fmla="*/ 0 h 1210"/>
                <a:gd name="T38" fmla="*/ 0 w 1782"/>
                <a:gd name="T39" fmla="*/ 0 h 1210"/>
                <a:gd name="T40" fmla="*/ 0 w 1782"/>
                <a:gd name="T41" fmla="*/ 0 h 1210"/>
                <a:gd name="T42" fmla="*/ 0 w 1782"/>
                <a:gd name="T43" fmla="*/ 0 h 1210"/>
                <a:gd name="T44" fmla="*/ 0 w 1782"/>
                <a:gd name="T45" fmla="*/ 0 h 1210"/>
                <a:gd name="T46" fmla="*/ 0 w 1782"/>
                <a:gd name="T47" fmla="*/ 0 h 1210"/>
                <a:gd name="T48" fmla="*/ 0 w 1782"/>
                <a:gd name="T49" fmla="*/ 0 h 1210"/>
                <a:gd name="T50" fmla="*/ 0 w 1782"/>
                <a:gd name="T51" fmla="*/ 0 h 1210"/>
                <a:gd name="T52" fmla="*/ 0 w 1782"/>
                <a:gd name="T53" fmla="*/ 0 h 12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82" h="1210">
                  <a:moveTo>
                    <a:pt x="1764" y="488"/>
                  </a:moveTo>
                  <a:lnTo>
                    <a:pt x="1764" y="488"/>
                  </a:lnTo>
                  <a:cubicBezTo>
                    <a:pt x="1754" y="472"/>
                    <a:pt x="1735" y="463"/>
                    <a:pt x="1716" y="463"/>
                  </a:cubicBezTo>
                  <a:cubicBezTo>
                    <a:pt x="1477" y="463"/>
                    <a:pt x="1477" y="463"/>
                    <a:pt x="1477" y="463"/>
                  </a:cubicBezTo>
                  <a:cubicBezTo>
                    <a:pt x="1477" y="460"/>
                    <a:pt x="1477" y="460"/>
                    <a:pt x="1477" y="460"/>
                  </a:cubicBezTo>
                  <a:cubicBezTo>
                    <a:pt x="1477" y="206"/>
                    <a:pt x="1272" y="2"/>
                    <a:pt x="1018" y="0"/>
                  </a:cubicBezTo>
                  <a:cubicBezTo>
                    <a:pt x="766" y="0"/>
                    <a:pt x="561" y="206"/>
                    <a:pt x="561" y="460"/>
                  </a:cubicBezTo>
                  <a:cubicBezTo>
                    <a:pt x="561" y="463"/>
                    <a:pt x="561" y="463"/>
                    <a:pt x="561" y="463"/>
                  </a:cubicBezTo>
                  <a:cubicBezTo>
                    <a:pt x="382" y="463"/>
                    <a:pt x="382" y="463"/>
                    <a:pt x="382" y="463"/>
                  </a:cubicBezTo>
                  <a:cubicBezTo>
                    <a:pt x="322" y="187"/>
                    <a:pt x="322" y="187"/>
                    <a:pt x="322" y="187"/>
                  </a:cubicBezTo>
                  <a:cubicBezTo>
                    <a:pt x="316" y="159"/>
                    <a:pt x="290" y="140"/>
                    <a:pt x="262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211" y="265"/>
                    <a:pt x="211" y="265"/>
                    <a:pt x="211" y="265"/>
                  </a:cubicBezTo>
                  <a:cubicBezTo>
                    <a:pt x="406" y="1158"/>
                    <a:pt x="406" y="1158"/>
                    <a:pt x="406" y="1158"/>
                  </a:cubicBezTo>
                  <a:cubicBezTo>
                    <a:pt x="411" y="1188"/>
                    <a:pt x="436" y="1209"/>
                    <a:pt x="466" y="1209"/>
                  </a:cubicBezTo>
                  <a:cubicBezTo>
                    <a:pt x="1561" y="1209"/>
                    <a:pt x="1561" y="1209"/>
                    <a:pt x="1561" y="1209"/>
                  </a:cubicBezTo>
                  <a:cubicBezTo>
                    <a:pt x="1589" y="1209"/>
                    <a:pt x="1615" y="1188"/>
                    <a:pt x="1621" y="1160"/>
                  </a:cubicBezTo>
                  <a:cubicBezTo>
                    <a:pt x="1776" y="541"/>
                    <a:pt x="1776" y="541"/>
                    <a:pt x="1776" y="541"/>
                  </a:cubicBezTo>
                  <a:cubicBezTo>
                    <a:pt x="1781" y="523"/>
                    <a:pt x="1776" y="503"/>
                    <a:pt x="1764" y="488"/>
                  </a:cubicBezTo>
                  <a:close/>
                  <a:moveTo>
                    <a:pt x="1018" y="793"/>
                  </a:moveTo>
                  <a:lnTo>
                    <a:pt x="1018" y="793"/>
                  </a:lnTo>
                  <a:cubicBezTo>
                    <a:pt x="836" y="793"/>
                    <a:pt x="687" y="644"/>
                    <a:pt x="687" y="460"/>
                  </a:cubicBezTo>
                  <a:cubicBezTo>
                    <a:pt x="687" y="276"/>
                    <a:pt x="836" y="127"/>
                    <a:pt x="1018" y="127"/>
                  </a:cubicBezTo>
                  <a:cubicBezTo>
                    <a:pt x="1202" y="127"/>
                    <a:pt x="1351" y="276"/>
                    <a:pt x="1351" y="460"/>
                  </a:cubicBezTo>
                  <a:cubicBezTo>
                    <a:pt x="1350" y="642"/>
                    <a:pt x="1202" y="791"/>
                    <a:pt x="1018" y="7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CE23AC62-AEA1-6030-C021-81CC02F4B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" y="404"/>
              <a:ext cx="115" cy="81"/>
            </a:xfrm>
            <a:custGeom>
              <a:avLst/>
              <a:gdLst>
                <a:gd name="T0" fmla="*/ 0 w 511"/>
                <a:gd name="T1" fmla="*/ 0 h 360"/>
                <a:gd name="T2" fmla="*/ 0 w 511"/>
                <a:gd name="T3" fmla="*/ 0 h 360"/>
                <a:gd name="T4" fmla="*/ 0 w 511"/>
                <a:gd name="T5" fmla="*/ 0 h 360"/>
                <a:gd name="T6" fmla="*/ 0 w 511"/>
                <a:gd name="T7" fmla="*/ 0 h 360"/>
                <a:gd name="T8" fmla="*/ 0 w 511"/>
                <a:gd name="T9" fmla="*/ 0 h 360"/>
                <a:gd name="T10" fmla="*/ 0 w 511"/>
                <a:gd name="T11" fmla="*/ 0 h 360"/>
                <a:gd name="T12" fmla="*/ 0 w 511"/>
                <a:gd name="T13" fmla="*/ 0 h 360"/>
                <a:gd name="T14" fmla="*/ 0 w 511"/>
                <a:gd name="T15" fmla="*/ 0 h 360"/>
                <a:gd name="T16" fmla="*/ 0 w 511"/>
                <a:gd name="T17" fmla="*/ 0 h 360"/>
                <a:gd name="T18" fmla="*/ 0 w 511"/>
                <a:gd name="T19" fmla="*/ 0 h 3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11" h="360">
                  <a:moveTo>
                    <a:pt x="204" y="208"/>
                  </a:moveTo>
                  <a:lnTo>
                    <a:pt x="204" y="208"/>
                  </a:lnTo>
                  <a:cubicBezTo>
                    <a:pt x="91" y="91"/>
                    <a:pt x="91" y="91"/>
                    <a:pt x="91" y="9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158" y="340"/>
                    <a:pt x="158" y="340"/>
                    <a:pt x="158" y="340"/>
                  </a:cubicBezTo>
                  <a:cubicBezTo>
                    <a:pt x="170" y="351"/>
                    <a:pt x="186" y="359"/>
                    <a:pt x="202" y="359"/>
                  </a:cubicBezTo>
                  <a:cubicBezTo>
                    <a:pt x="218" y="359"/>
                    <a:pt x="234" y="354"/>
                    <a:pt x="247" y="341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424" y="0"/>
                    <a:pt x="424" y="0"/>
                    <a:pt x="424" y="0"/>
                  </a:cubicBezTo>
                  <a:lnTo>
                    <a:pt x="204" y="2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47" name="Freeform 341">
            <a:extLst>
              <a:ext uri="{FF2B5EF4-FFF2-40B4-BE49-F238E27FC236}">
                <a16:creationId xmlns:a16="http://schemas.microsoft.com/office/drawing/2014/main" id="{518CEBFF-9B57-27B7-A5A9-93A4A833F2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7148" y="4392711"/>
            <a:ext cx="390370" cy="435000"/>
          </a:xfrm>
          <a:custGeom>
            <a:avLst/>
            <a:gdLst>
              <a:gd name="T0" fmla="*/ 2147483646 w 2467"/>
              <a:gd name="T1" fmla="*/ 2147483646 h 2743"/>
              <a:gd name="T2" fmla="*/ 2147483646 w 2467"/>
              <a:gd name="T3" fmla="*/ 2147483646 h 2743"/>
              <a:gd name="T4" fmla="*/ 2147483646 w 2467"/>
              <a:gd name="T5" fmla="*/ 2147483646 h 2743"/>
              <a:gd name="T6" fmla="*/ 2147483646 w 2467"/>
              <a:gd name="T7" fmla="*/ 0 h 2743"/>
              <a:gd name="T8" fmla="*/ 2147483646 w 2467"/>
              <a:gd name="T9" fmla="*/ 2147483646 h 2743"/>
              <a:gd name="T10" fmla="*/ 2147483646 w 2467"/>
              <a:gd name="T11" fmla="*/ 2147483646 h 2743"/>
              <a:gd name="T12" fmla="*/ 0 w 2467"/>
              <a:gd name="T13" fmla="*/ 2147483646 h 2743"/>
              <a:gd name="T14" fmla="*/ 0 w 2467"/>
              <a:gd name="T15" fmla="*/ 2147483646 h 2743"/>
              <a:gd name="T16" fmla="*/ 2147483646 w 2467"/>
              <a:gd name="T17" fmla="*/ 2147483646 h 2743"/>
              <a:gd name="T18" fmla="*/ 2147483646 w 2467"/>
              <a:gd name="T19" fmla="*/ 2147483646 h 2743"/>
              <a:gd name="T20" fmla="*/ 2147483646 w 2467"/>
              <a:gd name="T21" fmla="*/ 2147483646 h 2743"/>
              <a:gd name="T22" fmla="*/ 2147483646 w 2467"/>
              <a:gd name="T23" fmla="*/ 2147483646 h 2743"/>
              <a:gd name="T24" fmla="*/ 2147483646 w 2467"/>
              <a:gd name="T25" fmla="*/ 2147483646 h 2743"/>
              <a:gd name="T26" fmla="*/ 2147483646 w 2467"/>
              <a:gd name="T27" fmla="*/ 2147483646 h 2743"/>
              <a:gd name="T28" fmla="*/ 2147483646 w 2467"/>
              <a:gd name="T29" fmla="*/ 2147483646 h 2743"/>
              <a:gd name="T30" fmla="*/ 2147483646 w 2467"/>
              <a:gd name="T31" fmla="*/ 2147483646 h 2743"/>
              <a:gd name="T32" fmla="*/ 2147483646 w 2467"/>
              <a:gd name="T33" fmla="*/ 2147483646 h 2743"/>
              <a:gd name="T34" fmla="*/ 2147483646 w 2467"/>
              <a:gd name="T35" fmla="*/ 2147483646 h 2743"/>
              <a:gd name="T36" fmla="*/ 2147483646 w 2467"/>
              <a:gd name="T37" fmla="*/ 2147483646 h 2743"/>
              <a:gd name="T38" fmla="*/ 2147483646 w 2467"/>
              <a:gd name="T39" fmla="*/ 2147483646 h 2743"/>
              <a:gd name="T40" fmla="*/ 2147483646 w 2467"/>
              <a:gd name="T41" fmla="*/ 2147483646 h 2743"/>
              <a:gd name="T42" fmla="*/ 2147483646 w 2467"/>
              <a:gd name="T43" fmla="*/ 2147483646 h 2743"/>
              <a:gd name="T44" fmla="*/ 2147483646 w 2467"/>
              <a:gd name="T45" fmla="*/ 2147483646 h 2743"/>
              <a:gd name="T46" fmla="*/ 2147483646 w 2467"/>
              <a:gd name="T47" fmla="*/ 2147483646 h 2743"/>
              <a:gd name="T48" fmla="*/ 2147483646 w 2467"/>
              <a:gd name="T49" fmla="*/ 2147483646 h 2743"/>
              <a:gd name="T50" fmla="*/ 2147483646 w 2467"/>
              <a:gd name="T51" fmla="*/ 2147483646 h 2743"/>
              <a:gd name="T52" fmla="*/ 2147483646 w 2467"/>
              <a:gd name="T53" fmla="*/ 2147483646 h 2743"/>
              <a:gd name="T54" fmla="*/ 2147483646 w 2467"/>
              <a:gd name="T55" fmla="*/ 2147483646 h 2743"/>
              <a:gd name="T56" fmla="*/ 2147483646 w 2467"/>
              <a:gd name="T57" fmla="*/ 2147483646 h 2743"/>
              <a:gd name="T58" fmla="*/ 2147483646 w 2467"/>
              <a:gd name="T59" fmla="*/ 2147483646 h 2743"/>
              <a:gd name="T60" fmla="*/ 2147483646 w 2467"/>
              <a:gd name="T61" fmla="*/ 2147483646 h 2743"/>
              <a:gd name="T62" fmla="*/ 2147483646 w 2467"/>
              <a:gd name="T63" fmla="*/ 2147483646 h 2743"/>
              <a:gd name="T64" fmla="*/ 2147483646 w 2467"/>
              <a:gd name="T65" fmla="*/ 2147483646 h 2743"/>
              <a:gd name="T66" fmla="*/ 2147483646 w 2467"/>
              <a:gd name="T67" fmla="*/ 2147483646 h 2743"/>
              <a:gd name="T68" fmla="*/ 2147483646 w 2467"/>
              <a:gd name="T69" fmla="*/ 2147483646 h 2743"/>
              <a:gd name="T70" fmla="*/ 2147483646 w 2467"/>
              <a:gd name="T71" fmla="*/ 2147483646 h 2743"/>
              <a:gd name="T72" fmla="*/ 2147483646 w 2467"/>
              <a:gd name="T73" fmla="*/ 2147483646 h 2743"/>
              <a:gd name="T74" fmla="*/ 2147483646 w 2467"/>
              <a:gd name="T75" fmla="*/ 2147483646 h 2743"/>
              <a:gd name="T76" fmla="*/ 2147483646 w 2467"/>
              <a:gd name="T77" fmla="*/ 2147483646 h 2743"/>
              <a:gd name="T78" fmla="*/ 2147483646 w 2467"/>
              <a:gd name="T79" fmla="*/ 2147483646 h 2743"/>
              <a:gd name="T80" fmla="*/ 2147483646 w 2467"/>
              <a:gd name="T81" fmla="*/ 2147483646 h 2743"/>
              <a:gd name="T82" fmla="*/ 2147483646 w 2467"/>
              <a:gd name="T83" fmla="*/ 2147483646 h 2743"/>
              <a:gd name="T84" fmla="*/ 2147483646 w 2467"/>
              <a:gd name="T85" fmla="*/ 2147483646 h 2743"/>
              <a:gd name="T86" fmla="*/ 2147483646 w 2467"/>
              <a:gd name="T87" fmla="*/ 2147483646 h 2743"/>
              <a:gd name="T88" fmla="*/ 2147483646 w 2467"/>
              <a:gd name="T89" fmla="*/ 2147483646 h 2743"/>
              <a:gd name="T90" fmla="*/ 2147483646 w 2467"/>
              <a:gd name="T91" fmla="*/ 2147483646 h 2743"/>
              <a:gd name="T92" fmla="*/ 2147483646 w 2467"/>
              <a:gd name="T93" fmla="*/ 2147483646 h 2743"/>
              <a:gd name="T94" fmla="*/ 2147483646 w 2467"/>
              <a:gd name="T95" fmla="*/ 2147483646 h 2743"/>
              <a:gd name="T96" fmla="*/ 2147483646 w 2467"/>
              <a:gd name="T97" fmla="*/ 2147483646 h 2743"/>
              <a:gd name="T98" fmla="*/ 2147483646 w 2467"/>
              <a:gd name="T99" fmla="*/ 2147483646 h 2743"/>
              <a:gd name="T100" fmla="*/ 2147483646 w 2467"/>
              <a:gd name="T101" fmla="*/ 2147483646 h 2743"/>
              <a:gd name="T102" fmla="*/ 2147483646 w 2467"/>
              <a:gd name="T103" fmla="*/ 2147483646 h 2743"/>
              <a:gd name="T104" fmla="*/ 2147483646 w 2467"/>
              <a:gd name="T105" fmla="*/ 2147483646 h 2743"/>
              <a:gd name="T106" fmla="*/ 2147483646 w 2467"/>
              <a:gd name="T107" fmla="*/ 2147483646 h 2743"/>
              <a:gd name="T108" fmla="*/ 2147483646 w 2467"/>
              <a:gd name="T109" fmla="*/ 2147483646 h 2743"/>
              <a:gd name="T110" fmla="*/ 2147483646 w 2467"/>
              <a:gd name="T111" fmla="*/ 2147483646 h 2743"/>
              <a:gd name="T112" fmla="*/ 2147483646 w 2467"/>
              <a:gd name="T113" fmla="*/ 2147483646 h 2743"/>
              <a:gd name="T114" fmla="*/ 2147483646 w 2467"/>
              <a:gd name="T115" fmla="*/ 2147483646 h 2743"/>
              <a:gd name="T116" fmla="*/ 2147483646 w 2467"/>
              <a:gd name="T117" fmla="*/ 2147483646 h 274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467" h="2743">
                <a:moveTo>
                  <a:pt x="2344" y="550"/>
                </a:moveTo>
                <a:lnTo>
                  <a:pt x="2344" y="550"/>
                </a:lnTo>
                <a:cubicBezTo>
                  <a:pt x="2165" y="550"/>
                  <a:pt x="1997" y="464"/>
                  <a:pt x="1882" y="318"/>
                </a:cubicBezTo>
                <a:cubicBezTo>
                  <a:pt x="1723" y="115"/>
                  <a:pt x="1487" y="0"/>
                  <a:pt x="1233" y="0"/>
                </a:cubicBezTo>
                <a:cubicBezTo>
                  <a:pt x="979" y="0"/>
                  <a:pt x="743" y="115"/>
                  <a:pt x="584" y="318"/>
                </a:cubicBezTo>
                <a:cubicBezTo>
                  <a:pt x="469" y="464"/>
                  <a:pt x="300" y="550"/>
                  <a:pt x="122" y="550"/>
                </a:cubicBezTo>
                <a:cubicBezTo>
                  <a:pt x="54" y="550"/>
                  <a:pt x="0" y="603"/>
                  <a:pt x="0" y="669"/>
                </a:cubicBezTo>
                <a:cubicBezTo>
                  <a:pt x="0" y="686"/>
                  <a:pt x="0" y="686"/>
                  <a:pt x="0" y="686"/>
                </a:cubicBezTo>
                <a:cubicBezTo>
                  <a:pt x="0" y="735"/>
                  <a:pt x="39" y="777"/>
                  <a:pt x="90" y="777"/>
                </a:cubicBezTo>
                <a:cubicBezTo>
                  <a:pt x="90" y="1126"/>
                  <a:pt x="298" y="1425"/>
                  <a:pt x="596" y="1565"/>
                </a:cubicBezTo>
                <a:cubicBezTo>
                  <a:pt x="479" y="2600"/>
                  <a:pt x="479" y="2600"/>
                  <a:pt x="479" y="2600"/>
                </a:cubicBezTo>
                <a:cubicBezTo>
                  <a:pt x="471" y="2634"/>
                  <a:pt x="479" y="2669"/>
                  <a:pt x="498" y="2696"/>
                </a:cubicBezTo>
                <a:cubicBezTo>
                  <a:pt x="520" y="2725"/>
                  <a:pt x="552" y="2742"/>
                  <a:pt x="589" y="2742"/>
                </a:cubicBezTo>
                <a:cubicBezTo>
                  <a:pt x="633" y="2742"/>
                  <a:pt x="633" y="2742"/>
                  <a:pt x="633" y="2742"/>
                </a:cubicBezTo>
                <a:cubicBezTo>
                  <a:pt x="681" y="2742"/>
                  <a:pt x="725" y="2710"/>
                  <a:pt x="740" y="2661"/>
                </a:cubicBezTo>
                <a:cubicBezTo>
                  <a:pt x="799" y="2131"/>
                  <a:pt x="799" y="2131"/>
                  <a:pt x="799" y="2131"/>
                </a:cubicBezTo>
                <a:cubicBezTo>
                  <a:pt x="1233" y="1880"/>
                  <a:pt x="1233" y="1880"/>
                  <a:pt x="1233" y="1880"/>
                </a:cubicBezTo>
                <a:cubicBezTo>
                  <a:pt x="1665" y="2131"/>
                  <a:pt x="1665" y="2131"/>
                  <a:pt x="1665" y="2131"/>
                </a:cubicBezTo>
                <a:cubicBezTo>
                  <a:pt x="1723" y="2654"/>
                  <a:pt x="1723" y="2654"/>
                  <a:pt x="1723" y="2654"/>
                </a:cubicBezTo>
                <a:cubicBezTo>
                  <a:pt x="1726" y="2661"/>
                  <a:pt x="1726" y="2661"/>
                  <a:pt x="1726" y="2661"/>
                </a:cubicBezTo>
                <a:cubicBezTo>
                  <a:pt x="1741" y="2710"/>
                  <a:pt x="1784" y="2742"/>
                  <a:pt x="1833" y="2742"/>
                </a:cubicBezTo>
                <a:cubicBezTo>
                  <a:pt x="1877" y="2742"/>
                  <a:pt x="1877" y="2742"/>
                  <a:pt x="1877" y="2742"/>
                </a:cubicBezTo>
                <a:cubicBezTo>
                  <a:pt x="1914" y="2742"/>
                  <a:pt x="1946" y="2725"/>
                  <a:pt x="1968" y="2696"/>
                </a:cubicBezTo>
                <a:cubicBezTo>
                  <a:pt x="1987" y="2669"/>
                  <a:pt x="1995" y="2634"/>
                  <a:pt x="1987" y="2600"/>
                </a:cubicBezTo>
                <a:cubicBezTo>
                  <a:pt x="1870" y="1565"/>
                  <a:pt x="1870" y="1565"/>
                  <a:pt x="1870" y="1565"/>
                </a:cubicBezTo>
                <a:cubicBezTo>
                  <a:pt x="2168" y="1425"/>
                  <a:pt x="2376" y="1126"/>
                  <a:pt x="2376" y="777"/>
                </a:cubicBezTo>
                <a:cubicBezTo>
                  <a:pt x="2400" y="777"/>
                  <a:pt x="2422" y="767"/>
                  <a:pt x="2439" y="750"/>
                </a:cubicBezTo>
                <a:cubicBezTo>
                  <a:pt x="2456" y="733"/>
                  <a:pt x="2466" y="711"/>
                  <a:pt x="2466" y="686"/>
                </a:cubicBezTo>
                <a:cubicBezTo>
                  <a:pt x="2466" y="669"/>
                  <a:pt x="2466" y="669"/>
                  <a:pt x="2466" y="669"/>
                </a:cubicBezTo>
                <a:cubicBezTo>
                  <a:pt x="2466" y="603"/>
                  <a:pt x="2412" y="550"/>
                  <a:pt x="2344" y="550"/>
                </a:cubicBezTo>
                <a:close/>
                <a:moveTo>
                  <a:pt x="813" y="2017"/>
                </a:moveTo>
                <a:lnTo>
                  <a:pt x="813" y="2017"/>
                </a:lnTo>
                <a:cubicBezTo>
                  <a:pt x="852" y="1660"/>
                  <a:pt x="852" y="1660"/>
                  <a:pt x="852" y="1660"/>
                </a:cubicBezTo>
                <a:cubicBezTo>
                  <a:pt x="1143" y="1826"/>
                  <a:pt x="1143" y="1826"/>
                  <a:pt x="1143" y="1826"/>
                </a:cubicBezTo>
                <a:lnTo>
                  <a:pt x="813" y="2017"/>
                </a:lnTo>
                <a:close/>
                <a:moveTo>
                  <a:pt x="1009" y="1645"/>
                </a:moveTo>
                <a:lnTo>
                  <a:pt x="1009" y="1645"/>
                </a:lnTo>
                <a:cubicBezTo>
                  <a:pt x="1457" y="1645"/>
                  <a:pt x="1457" y="1645"/>
                  <a:pt x="1457" y="1645"/>
                </a:cubicBezTo>
                <a:cubicBezTo>
                  <a:pt x="1233" y="1775"/>
                  <a:pt x="1233" y="1775"/>
                  <a:pt x="1233" y="1775"/>
                </a:cubicBezTo>
                <a:lnTo>
                  <a:pt x="1009" y="1645"/>
                </a:lnTo>
                <a:close/>
                <a:moveTo>
                  <a:pt x="1323" y="1826"/>
                </a:moveTo>
                <a:lnTo>
                  <a:pt x="1323" y="1826"/>
                </a:lnTo>
                <a:cubicBezTo>
                  <a:pt x="1614" y="1660"/>
                  <a:pt x="1614" y="1660"/>
                  <a:pt x="1614" y="1660"/>
                </a:cubicBezTo>
                <a:cubicBezTo>
                  <a:pt x="1653" y="2017"/>
                  <a:pt x="1653" y="2017"/>
                  <a:pt x="1653" y="2017"/>
                </a:cubicBezTo>
                <a:lnTo>
                  <a:pt x="1323" y="1826"/>
                </a:lnTo>
                <a:close/>
                <a:moveTo>
                  <a:pt x="1963" y="1199"/>
                </a:moveTo>
                <a:lnTo>
                  <a:pt x="1963" y="1199"/>
                </a:lnTo>
                <a:cubicBezTo>
                  <a:pt x="1963" y="1270"/>
                  <a:pt x="1907" y="1326"/>
                  <a:pt x="1838" y="1326"/>
                </a:cubicBezTo>
                <a:cubicBezTo>
                  <a:pt x="1828" y="1326"/>
                  <a:pt x="1821" y="1324"/>
                  <a:pt x="1811" y="1321"/>
                </a:cubicBezTo>
                <a:cubicBezTo>
                  <a:pt x="1462" y="1248"/>
                  <a:pt x="1097" y="1248"/>
                  <a:pt x="745" y="1321"/>
                </a:cubicBezTo>
                <a:cubicBezTo>
                  <a:pt x="738" y="1324"/>
                  <a:pt x="728" y="1326"/>
                  <a:pt x="718" y="1326"/>
                </a:cubicBezTo>
                <a:cubicBezTo>
                  <a:pt x="650" y="1326"/>
                  <a:pt x="594" y="1270"/>
                  <a:pt x="594" y="1199"/>
                </a:cubicBezTo>
                <a:cubicBezTo>
                  <a:pt x="594" y="1133"/>
                  <a:pt x="594" y="1133"/>
                  <a:pt x="594" y="1133"/>
                </a:cubicBezTo>
                <a:cubicBezTo>
                  <a:pt x="594" y="1075"/>
                  <a:pt x="635" y="1023"/>
                  <a:pt x="694" y="1011"/>
                </a:cubicBezTo>
                <a:cubicBezTo>
                  <a:pt x="725" y="1004"/>
                  <a:pt x="725" y="1004"/>
                  <a:pt x="725" y="1004"/>
                </a:cubicBezTo>
                <a:cubicBezTo>
                  <a:pt x="1089" y="928"/>
                  <a:pt x="1469" y="928"/>
                  <a:pt x="1831" y="1004"/>
                </a:cubicBezTo>
                <a:cubicBezTo>
                  <a:pt x="1865" y="1011"/>
                  <a:pt x="1865" y="1011"/>
                  <a:pt x="1865" y="1011"/>
                </a:cubicBezTo>
                <a:cubicBezTo>
                  <a:pt x="1921" y="1023"/>
                  <a:pt x="1963" y="1075"/>
                  <a:pt x="1963" y="1133"/>
                </a:cubicBezTo>
                <a:lnTo>
                  <a:pt x="1963" y="11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48" name="Group 202">
            <a:extLst>
              <a:ext uri="{FF2B5EF4-FFF2-40B4-BE49-F238E27FC236}">
                <a16:creationId xmlns:a16="http://schemas.microsoft.com/office/drawing/2014/main" id="{D518101E-5A49-CA67-D9EA-B61F785A7C4F}"/>
              </a:ext>
            </a:extLst>
          </p:cNvPr>
          <p:cNvGrpSpPr>
            <a:grpSpLocks/>
          </p:cNvGrpSpPr>
          <p:nvPr/>
        </p:nvGrpSpPr>
        <p:grpSpPr bwMode="auto">
          <a:xfrm>
            <a:off x="2728392" y="5588926"/>
            <a:ext cx="503466" cy="260506"/>
            <a:chOff x="1843" y="230"/>
            <a:chExt cx="536" cy="277"/>
          </a:xfrm>
          <a:solidFill>
            <a:schemeClr val="accent1"/>
          </a:solidFill>
        </p:grpSpPr>
        <p:sp>
          <p:nvSpPr>
            <p:cNvPr id="49" name="Freeform 203">
              <a:extLst>
                <a:ext uri="{FF2B5EF4-FFF2-40B4-BE49-F238E27FC236}">
                  <a16:creationId xmlns:a16="http://schemas.microsoft.com/office/drawing/2014/main" id="{A931596C-8CEA-ACD7-097F-ECA0FA206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4" y="413"/>
              <a:ext cx="15" cy="28"/>
            </a:xfrm>
            <a:custGeom>
              <a:avLst/>
              <a:gdLst>
                <a:gd name="T0" fmla="*/ 0 w 70"/>
                <a:gd name="T1" fmla="*/ 0 h 129"/>
                <a:gd name="T2" fmla="*/ 0 w 70"/>
                <a:gd name="T3" fmla="*/ 0 h 129"/>
                <a:gd name="T4" fmla="*/ 0 w 70"/>
                <a:gd name="T5" fmla="*/ 0 h 129"/>
                <a:gd name="T6" fmla="*/ 0 w 70"/>
                <a:gd name="T7" fmla="*/ 0 h 129"/>
                <a:gd name="T8" fmla="*/ 0 w 70"/>
                <a:gd name="T9" fmla="*/ 0 h 129"/>
                <a:gd name="T10" fmla="*/ 0 w 70"/>
                <a:gd name="T11" fmla="*/ 0 h 129"/>
                <a:gd name="T12" fmla="*/ 0 w 70"/>
                <a:gd name="T13" fmla="*/ 0 h 129"/>
                <a:gd name="T14" fmla="*/ 0 w 70"/>
                <a:gd name="T15" fmla="*/ 0 h 1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0" h="129">
                  <a:moveTo>
                    <a:pt x="33" y="0"/>
                  </a:moveTo>
                  <a:lnTo>
                    <a:pt x="33" y="0"/>
                  </a:lnTo>
                  <a:cubicBezTo>
                    <a:pt x="29" y="19"/>
                    <a:pt x="23" y="42"/>
                    <a:pt x="19" y="6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44" y="42"/>
                    <a:pt x="38" y="19"/>
                    <a:pt x="33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0" name="Freeform 204">
              <a:extLst>
                <a:ext uri="{FF2B5EF4-FFF2-40B4-BE49-F238E27FC236}">
                  <a16:creationId xmlns:a16="http://schemas.microsoft.com/office/drawing/2014/main" id="{F4F9E1B9-19FE-7AD5-1A12-9855B11F8A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8" y="286"/>
              <a:ext cx="30" cy="35"/>
            </a:xfrm>
            <a:custGeom>
              <a:avLst/>
              <a:gdLst>
                <a:gd name="T0" fmla="*/ 0 w 136"/>
                <a:gd name="T1" fmla="*/ 0 h 157"/>
                <a:gd name="T2" fmla="*/ 0 w 136"/>
                <a:gd name="T3" fmla="*/ 0 h 157"/>
                <a:gd name="T4" fmla="*/ 0 w 136"/>
                <a:gd name="T5" fmla="*/ 0 h 157"/>
                <a:gd name="T6" fmla="*/ 0 w 136"/>
                <a:gd name="T7" fmla="*/ 0 h 157"/>
                <a:gd name="T8" fmla="*/ 0 w 136"/>
                <a:gd name="T9" fmla="*/ 0 h 157"/>
                <a:gd name="T10" fmla="*/ 0 w 136"/>
                <a:gd name="T11" fmla="*/ 0 h 157"/>
                <a:gd name="T12" fmla="*/ 0 w 136"/>
                <a:gd name="T13" fmla="*/ 0 h 1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6" h="157">
                  <a:moveTo>
                    <a:pt x="46" y="0"/>
                  </a:moveTo>
                  <a:lnTo>
                    <a:pt x="46" y="0"/>
                  </a:lnTo>
                  <a:cubicBezTo>
                    <a:pt x="23" y="0"/>
                    <a:pt x="6" y="2"/>
                    <a:pt x="0" y="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8" y="156"/>
                    <a:pt x="21" y="156"/>
                    <a:pt x="38" y="156"/>
                  </a:cubicBezTo>
                  <a:cubicBezTo>
                    <a:pt x="97" y="156"/>
                    <a:pt x="135" y="127"/>
                    <a:pt x="135" y="74"/>
                  </a:cubicBezTo>
                  <a:cubicBezTo>
                    <a:pt x="135" y="27"/>
                    <a:pt x="103" y="0"/>
                    <a:pt x="46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1" name="Freeform 205">
              <a:extLst>
                <a:ext uri="{FF2B5EF4-FFF2-40B4-BE49-F238E27FC236}">
                  <a16:creationId xmlns:a16="http://schemas.microsoft.com/office/drawing/2014/main" id="{AFA467AD-B214-0FB9-98E2-0F798C1A7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5" y="412"/>
              <a:ext cx="19" cy="22"/>
            </a:xfrm>
            <a:custGeom>
              <a:avLst/>
              <a:gdLst>
                <a:gd name="T0" fmla="*/ 0 w 86"/>
                <a:gd name="T1" fmla="*/ 0 h 101"/>
                <a:gd name="T2" fmla="*/ 0 w 86"/>
                <a:gd name="T3" fmla="*/ 0 h 101"/>
                <a:gd name="T4" fmla="*/ 0 w 86"/>
                <a:gd name="T5" fmla="*/ 0 h 101"/>
                <a:gd name="T6" fmla="*/ 0 w 86"/>
                <a:gd name="T7" fmla="*/ 0 h 101"/>
                <a:gd name="T8" fmla="*/ 0 w 86"/>
                <a:gd name="T9" fmla="*/ 0 h 101"/>
                <a:gd name="T10" fmla="*/ 0 w 86"/>
                <a:gd name="T11" fmla="*/ 0 h 101"/>
                <a:gd name="T12" fmla="*/ 0 w 86"/>
                <a:gd name="T13" fmla="*/ 0 h 10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01">
                  <a:moveTo>
                    <a:pt x="28" y="0"/>
                  </a:moveTo>
                  <a:lnTo>
                    <a:pt x="28" y="0"/>
                  </a:lnTo>
                  <a:cubicBezTo>
                    <a:pt x="15" y="0"/>
                    <a:pt x="4" y="3"/>
                    <a:pt x="0" y="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6" y="98"/>
                    <a:pt x="13" y="100"/>
                    <a:pt x="23" y="100"/>
                  </a:cubicBezTo>
                  <a:cubicBezTo>
                    <a:pt x="61" y="100"/>
                    <a:pt x="85" y="79"/>
                    <a:pt x="85" y="47"/>
                  </a:cubicBezTo>
                  <a:cubicBezTo>
                    <a:pt x="85" y="19"/>
                    <a:pt x="66" y="0"/>
                    <a:pt x="28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2" name="Freeform 206">
              <a:extLst>
                <a:ext uri="{FF2B5EF4-FFF2-40B4-BE49-F238E27FC236}">
                  <a16:creationId xmlns:a16="http://schemas.microsoft.com/office/drawing/2014/main" id="{28BB557F-D89A-B59D-426F-7356F3317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230"/>
              <a:ext cx="536" cy="278"/>
            </a:xfrm>
            <a:custGeom>
              <a:avLst/>
              <a:gdLst>
                <a:gd name="T0" fmla="*/ 0 w 2368"/>
                <a:gd name="T1" fmla="*/ 0 h 1229"/>
                <a:gd name="T2" fmla="*/ 0 w 2368"/>
                <a:gd name="T3" fmla="*/ 0 h 1229"/>
                <a:gd name="T4" fmla="*/ 0 w 2368"/>
                <a:gd name="T5" fmla="*/ 0 h 1229"/>
                <a:gd name="T6" fmla="*/ 0 w 2368"/>
                <a:gd name="T7" fmla="*/ 0 h 1229"/>
                <a:gd name="T8" fmla="*/ 0 w 2368"/>
                <a:gd name="T9" fmla="*/ 0 h 1229"/>
                <a:gd name="T10" fmla="*/ 0 w 2368"/>
                <a:gd name="T11" fmla="*/ 0 h 1229"/>
                <a:gd name="T12" fmla="*/ 0 w 2368"/>
                <a:gd name="T13" fmla="*/ 0 h 1229"/>
                <a:gd name="T14" fmla="*/ 0 w 2368"/>
                <a:gd name="T15" fmla="*/ 0 h 1229"/>
                <a:gd name="T16" fmla="*/ 0 w 2368"/>
                <a:gd name="T17" fmla="*/ 0 h 1229"/>
                <a:gd name="T18" fmla="*/ 0 w 2368"/>
                <a:gd name="T19" fmla="*/ 0 h 1229"/>
                <a:gd name="T20" fmla="*/ 0 w 2368"/>
                <a:gd name="T21" fmla="*/ 0 h 1229"/>
                <a:gd name="T22" fmla="*/ 0 w 2368"/>
                <a:gd name="T23" fmla="*/ 0 h 1229"/>
                <a:gd name="T24" fmla="*/ 0 w 2368"/>
                <a:gd name="T25" fmla="*/ 0 h 1229"/>
                <a:gd name="T26" fmla="*/ 0 w 2368"/>
                <a:gd name="T27" fmla="*/ 0 h 1229"/>
                <a:gd name="T28" fmla="*/ 0 w 2368"/>
                <a:gd name="T29" fmla="*/ 0 h 1229"/>
                <a:gd name="T30" fmla="*/ 0 w 2368"/>
                <a:gd name="T31" fmla="*/ 0 h 1229"/>
                <a:gd name="T32" fmla="*/ 0 w 2368"/>
                <a:gd name="T33" fmla="*/ 0 h 1229"/>
                <a:gd name="T34" fmla="*/ 0 w 2368"/>
                <a:gd name="T35" fmla="*/ 0 h 1229"/>
                <a:gd name="T36" fmla="*/ 0 w 2368"/>
                <a:gd name="T37" fmla="*/ 0 h 1229"/>
                <a:gd name="T38" fmla="*/ 0 w 2368"/>
                <a:gd name="T39" fmla="*/ 0 h 1229"/>
                <a:gd name="T40" fmla="*/ 0 w 2368"/>
                <a:gd name="T41" fmla="*/ 0 h 1229"/>
                <a:gd name="T42" fmla="*/ 0 w 2368"/>
                <a:gd name="T43" fmla="*/ 0 h 1229"/>
                <a:gd name="T44" fmla="*/ 0 w 2368"/>
                <a:gd name="T45" fmla="*/ 0 h 1229"/>
                <a:gd name="T46" fmla="*/ 0 w 2368"/>
                <a:gd name="T47" fmla="*/ 0 h 1229"/>
                <a:gd name="T48" fmla="*/ 0 w 2368"/>
                <a:gd name="T49" fmla="*/ 0 h 1229"/>
                <a:gd name="T50" fmla="*/ 0 w 2368"/>
                <a:gd name="T51" fmla="*/ 0 h 1229"/>
                <a:gd name="T52" fmla="*/ 0 w 2368"/>
                <a:gd name="T53" fmla="*/ 0 h 1229"/>
                <a:gd name="T54" fmla="*/ 0 w 2368"/>
                <a:gd name="T55" fmla="*/ 0 h 1229"/>
                <a:gd name="T56" fmla="*/ 0 w 2368"/>
                <a:gd name="T57" fmla="*/ 0 h 1229"/>
                <a:gd name="T58" fmla="*/ 0 w 2368"/>
                <a:gd name="T59" fmla="*/ 0 h 1229"/>
                <a:gd name="T60" fmla="*/ 0 w 2368"/>
                <a:gd name="T61" fmla="*/ 0 h 1229"/>
                <a:gd name="T62" fmla="*/ 0 w 2368"/>
                <a:gd name="T63" fmla="*/ 0 h 1229"/>
                <a:gd name="T64" fmla="*/ 0 w 2368"/>
                <a:gd name="T65" fmla="*/ 0 h 1229"/>
                <a:gd name="T66" fmla="*/ 0 w 2368"/>
                <a:gd name="T67" fmla="*/ 0 h 1229"/>
                <a:gd name="T68" fmla="*/ 0 w 2368"/>
                <a:gd name="T69" fmla="*/ 0 h 1229"/>
                <a:gd name="T70" fmla="*/ 0 w 2368"/>
                <a:gd name="T71" fmla="*/ 0 h 1229"/>
                <a:gd name="T72" fmla="*/ 0 w 2368"/>
                <a:gd name="T73" fmla="*/ 0 h 1229"/>
                <a:gd name="T74" fmla="*/ 0 w 2368"/>
                <a:gd name="T75" fmla="*/ 0 h 1229"/>
                <a:gd name="T76" fmla="*/ 0 w 2368"/>
                <a:gd name="T77" fmla="*/ 0 h 1229"/>
                <a:gd name="T78" fmla="*/ 0 w 2368"/>
                <a:gd name="T79" fmla="*/ 0 h 1229"/>
                <a:gd name="T80" fmla="*/ 0 w 2368"/>
                <a:gd name="T81" fmla="*/ 0 h 1229"/>
                <a:gd name="T82" fmla="*/ 0 w 2368"/>
                <a:gd name="T83" fmla="*/ 0 h 1229"/>
                <a:gd name="T84" fmla="*/ 0 w 2368"/>
                <a:gd name="T85" fmla="*/ 0 h 1229"/>
                <a:gd name="T86" fmla="*/ 0 w 2368"/>
                <a:gd name="T87" fmla="*/ 0 h 1229"/>
                <a:gd name="T88" fmla="*/ 0 w 2368"/>
                <a:gd name="T89" fmla="*/ 0 h 122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68" h="1229">
                  <a:moveTo>
                    <a:pt x="2200" y="471"/>
                  </a:moveTo>
                  <a:lnTo>
                    <a:pt x="2200" y="471"/>
                  </a:lnTo>
                  <a:cubicBezTo>
                    <a:pt x="2367" y="302"/>
                    <a:pt x="2367" y="302"/>
                    <a:pt x="2367" y="302"/>
                  </a:cubicBezTo>
                  <a:cubicBezTo>
                    <a:pt x="2200" y="135"/>
                    <a:pt x="2200" y="135"/>
                    <a:pt x="2200" y="135"/>
                  </a:cubicBezTo>
                  <a:cubicBezTo>
                    <a:pt x="2333" y="0"/>
                    <a:pt x="2333" y="0"/>
                    <a:pt x="2333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32"/>
                    <a:pt x="249" y="32"/>
                    <a:pt x="249" y="32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28"/>
                    <a:pt x="0" y="1228"/>
                    <a:pt x="0" y="1228"/>
                  </a:cubicBezTo>
                  <a:cubicBezTo>
                    <a:pt x="2289" y="1228"/>
                    <a:pt x="2289" y="1228"/>
                    <a:pt x="2289" y="1228"/>
                  </a:cubicBezTo>
                  <a:cubicBezTo>
                    <a:pt x="2200" y="1139"/>
                    <a:pt x="2200" y="1139"/>
                    <a:pt x="2200" y="1139"/>
                  </a:cubicBezTo>
                  <a:cubicBezTo>
                    <a:pt x="2367" y="972"/>
                    <a:pt x="2367" y="972"/>
                    <a:pt x="2367" y="972"/>
                  </a:cubicBezTo>
                  <a:cubicBezTo>
                    <a:pt x="2200" y="804"/>
                    <a:pt x="2200" y="804"/>
                    <a:pt x="2200" y="804"/>
                  </a:cubicBezTo>
                  <a:cubicBezTo>
                    <a:pt x="2367" y="637"/>
                    <a:pt x="2367" y="637"/>
                    <a:pt x="2367" y="637"/>
                  </a:cubicBezTo>
                  <a:lnTo>
                    <a:pt x="2200" y="471"/>
                  </a:lnTo>
                  <a:close/>
                  <a:moveTo>
                    <a:pt x="249" y="1175"/>
                  </a:moveTo>
                  <a:lnTo>
                    <a:pt x="249" y="1175"/>
                  </a:lnTo>
                  <a:cubicBezTo>
                    <a:pt x="211" y="1175"/>
                    <a:pt x="211" y="1175"/>
                    <a:pt x="211" y="1175"/>
                  </a:cubicBezTo>
                  <a:cubicBezTo>
                    <a:pt x="211" y="1080"/>
                    <a:pt x="211" y="1080"/>
                    <a:pt x="211" y="1080"/>
                  </a:cubicBezTo>
                  <a:cubicBezTo>
                    <a:pt x="249" y="1080"/>
                    <a:pt x="249" y="1080"/>
                    <a:pt x="249" y="1080"/>
                  </a:cubicBezTo>
                  <a:lnTo>
                    <a:pt x="249" y="1175"/>
                  </a:lnTo>
                  <a:close/>
                  <a:moveTo>
                    <a:pt x="249" y="985"/>
                  </a:moveTo>
                  <a:lnTo>
                    <a:pt x="249" y="985"/>
                  </a:lnTo>
                  <a:cubicBezTo>
                    <a:pt x="211" y="985"/>
                    <a:pt x="211" y="985"/>
                    <a:pt x="211" y="985"/>
                  </a:cubicBezTo>
                  <a:cubicBezTo>
                    <a:pt x="211" y="888"/>
                    <a:pt x="211" y="888"/>
                    <a:pt x="211" y="888"/>
                  </a:cubicBezTo>
                  <a:cubicBezTo>
                    <a:pt x="249" y="888"/>
                    <a:pt x="249" y="888"/>
                    <a:pt x="249" y="888"/>
                  </a:cubicBezTo>
                  <a:lnTo>
                    <a:pt x="249" y="985"/>
                  </a:lnTo>
                  <a:close/>
                  <a:moveTo>
                    <a:pt x="249" y="793"/>
                  </a:moveTo>
                  <a:lnTo>
                    <a:pt x="249" y="793"/>
                  </a:lnTo>
                  <a:cubicBezTo>
                    <a:pt x="211" y="793"/>
                    <a:pt x="211" y="793"/>
                    <a:pt x="211" y="793"/>
                  </a:cubicBezTo>
                  <a:cubicBezTo>
                    <a:pt x="211" y="698"/>
                    <a:pt x="211" y="698"/>
                    <a:pt x="211" y="698"/>
                  </a:cubicBezTo>
                  <a:cubicBezTo>
                    <a:pt x="249" y="698"/>
                    <a:pt x="249" y="698"/>
                    <a:pt x="249" y="698"/>
                  </a:cubicBezTo>
                  <a:lnTo>
                    <a:pt x="249" y="793"/>
                  </a:lnTo>
                  <a:close/>
                  <a:moveTo>
                    <a:pt x="249" y="604"/>
                  </a:moveTo>
                  <a:lnTo>
                    <a:pt x="249" y="604"/>
                  </a:lnTo>
                  <a:cubicBezTo>
                    <a:pt x="211" y="604"/>
                    <a:pt x="211" y="604"/>
                    <a:pt x="211" y="604"/>
                  </a:cubicBezTo>
                  <a:cubicBezTo>
                    <a:pt x="211" y="509"/>
                    <a:pt x="211" y="509"/>
                    <a:pt x="211" y="509"/>
                  </a:cubicBezTo>
                  <a:cubicBezTo>
                    <a:pt x="249" y="509"/>
                    <a:pt x="249" y="509"/>
                    <a:pt x="249" y="509"/>
                  </a:cubicBezTo>
                  <a:lnTo>
                    <a:pt x="249" y="604"/>
                  </a:lnTo>
                  <a:close/>
                  <a:moveTo>
                    <a:pt x="249" y="414"/>
                  </a:moveTo>
                  <a:lnTo>
                    <a:pt x="249" y="414"/>
                  </a:lnTo>
                  <a:cubicBezTo>
                    <a:pt x="211" y="414"/>
                    <a:pt x="211" y="414"/>
                    <a:pt x="211" y="414"/>
                  </a:cubicBezTo>
                  <a:cubicBezTo>
                    <a:pt x="211" y="319"/>
                    <a:pt x="211" y="319"/>
                    <a:pt x="211" y="319"/>
                  </a:cubicBezTo>
                  <a:cubicBezTo>
                    <a:pt x="249" y="319"/>
                    <a:pt x="249" y="319"/>
                    <a:pt x="249" y="319"/>
                  </a:cubicBezTo>
                  <a:lnTo>
                    <a:pt x="249" y="414"/>
                  </a:lnTo>
                  <a:close/>
                  <a:moveTo>
                    <a:pt x="249" y="224"/>
                  </a:moveTo>
                  <a:lnTo>
                    <a:pt x="249" y="224"/>
                  </a:lnTo>
                  <a:cubicBezTo>
                    <a:pt x="211" y="224"/>
                    <a:pt x="211" y="224"/>
                    <a:pt x="211" y="224"/>
                  </a:cubicBezTo>
                  <a:cubicBezTo>
                    <a:pt x="211" y="127"/>
                    <a:pt x="211" y="127"/>
                    <a:pt x="211" y="127"/>
                  </a:cubicBezTo>
                  <a:cubicBezTo>
                    <a:pt x="249" y="127"/>
                    <a:pt x="249" y="127"/>
                    <a:pt x="249" y="127"/>
                  </a:cubicBezTo>
                  <a:lnTo>
                    <a:pt x="249" y="224"/>
                  </a:lnTo>
                  <a:close/>
                  <a:moveTo>
                    <a:pt x="1062" y="163"/>
                  </a:moveTo>
                  <a:lnTo>
                    <a:pt x="1062" y="163"/>
                  </a:lnTo>
                  <a:cubicBezTo>
                    <a:pt x="1176" y="163"/>
                    <a:pt x="1176" y="163"/>
                    <a:pt x="1176" y="163"/>
                  </a:cubicBezTo>
                  <a:cubicBezTo>
                    <a:pt x="1176" y="666"/>
                    <a:pt x="1176" y="666"/>
                    <a:pt x="1176" y="666"/>
                  </a:cubicBezTo>
                  <a:cubicBezTo>
                    <a:pt x="1062" y="666"/>
                    <a:pt x="1062" y="666"/>
                    <a:pt x="1062" y="666"/>
                  </a:cubicBezTo>
                  <a:lnTo>
                    <a:pt x="1062" y="163"/>
                  </a:lnTo>
                  <a:close/>
                  <a:moveTo>
                    <a:pt x="667" y="163"/>
                  </a:moveTo>
                  <a:lnTo>
                    <a:pt x="667" y="163"/>
                  </a:lnTo>
                  <a:cubicBezTo>
                    <a:pt x="728" y="376"/>
                    <a:pt x="728" y="376"/>
                    <a:pt x="728" y="376"/>
                  </a:cubicBezTo>
                  <a:cubicBezTo>
                    <a:pt x="745" y="437"/>
                    <a:pt x="762" y="494"/>
                    <a:pt x="772" y="557"/>
                  </a:cubicBezTo>
                  <a:cubicBezTo>
                    <a:pt x="775" y="557"/>
                    <a:pt x="775" y="557"/>
                    <a:pt x="775" y="557"/>
                  </a:cubicBezTo>
                  <a:cubicBezTo>
                    <a:pt x="787" y="496"/>
                    <a:pt x="804" y="435"/>
                    <a:pt x="821" y="378"/>
                  </a:cubicBezTo>
                  <a:cubicBezTo>
                    <a:pt x="886" y="163"/>
                    <a:pt x="886" y="163"/>
                    <a:pt x="886" y="163"/>
                  </a:cubicBezTo>
                  <a:cubicBezTo>
                    <a:pt x="1007" y="163"/>
                    <a:pt x="1007" y="163"/>
                    <a:pt x="1007" y="163"/>
                  </a:cubicBezTo>
                  <a:cubicBezTo>
                    <a:pt x="836" y="666"/>
                    <a:pt x="836" y="666"/>
                    <a:pt x="836" y="666"/>
                  </a:cubicBezTo>
                  <a:cubicBezTo>
                    <a:pt x="703" y="666"/>
                    <a:pt x="703" y="666"/>
                    <a:pt x="703" y="666"/>
                  </a:cubicBezTo>
                  <a:cubicBezTo>
                    <a:pt x="542" y="163"/>
                    <a:pt x="542" y="163"/>
                    <a:pt x="542" y="163"/>
                  </a:cubicBezTo>
                  <a:lnTo>
                    <a:pt x="667" y="163"/>
                  </a:lnTo>
                  <a:close/>
                  <a:moveTo>
                    <a:pt x="694" y="956"/>
                  </a:moveTo>
                  <a:lnTo>
                    <a:pt x="694" y="956"/>
                  </a:lnTo>
                  <a:cubicBezTo>
                    <a:pt x="686" y="956"/>
                    <a:pt x="677" y="953"/>
                    <a:pt x="671" y="953"/>
                  </a:cubicBezTo>
                  <a:cubicBezTo>
                    <a:pt x="671" y="1068"/>
                    <a:pt x="671" y="1068"/>
                    <a:pt x="671" y="1068"/>
                  </a:cubicBezTo>
                  <a:cubicBezTo>
                    <a:pt x="599" y="1068"/>
                    <a:pt x="599" y="1068"/>
                    <a:pt x="599" y="1068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620" y="751"/>
                    <a:pt x="652" y="747"/>
                    <a:pt x="696" y="747"/>
                  </a:cubicBezTo>
                  <a:cubicBezTo>
                    <a:pt x="741" y="747"/>
                    <a:pt x="772" y="755"/>
                    <a:pt x="794" y="772"/>
                  </a:cubicBezTo>
                  <a:cubicBezTo>
                    <a:pt x="815" y="789"/>
                    <a:pt x="827" y="814"/>
                    <a:pt x="827" y="846"/>
                  </a:cubicBezTo>
                  <a:cubicBezTo>
                    <a:pt x="827" y="877"/>
                    <a:pt x="817" y="905"/>
                    <a:pt x="798" y="922"/>
                  </a:cubicBezTo>
                  <a:cubicBezTo>
                    <a:pt x="772" y="945"/>
                    <a:pt x="737" y="956"/>
                    <a:pt x="694" y="956"/>
                  </a:cubicBezTo>
                  <a:close/>
                  <a:moveTo>
                    <a:pt x="1034" y="1068"/>
                  </a:moveTo>
                  <a:lnTo>
                    <a:pt x="1034" y="1068"/>
                  </a:lnTo>
                  <a:cubicBezTo>
                    <a:pt x="1009" y="985"/>
                    <a:pt x="1009" y="985"/>
                    <a:pt x="1009" y="985"/>
                  </a:cubicBezTo>
                  <a:cubicBezTo>
                    <a:pt x="918" y="985"/>
                    <a:pt x="918" y="985"/>
                    <a:pt x="918" y="985"/>
                  </a:cubicBezTo>
                  <a:cubicBezTo>
                    <a:pt x="895" y="1068"/>
                    <a:pt x="895" y="1068"/>
                    <a:pt x="895" y="1068"/>
                  </a:cubicBezTo>
                  <a:cubicBezTo>
                    <a:pt x="821" y="1068"/>
                    <a:pt x="821" y="1068"/>
                    <a:pt x="821" y="1068"/>
                  </a:cubicBezTo>
                  <a:cubicBezTo>
                    <a:pt x="918" y="751"/>
                    <a:pt x="918" y="751"/>
                    <a:pt x="918" y="751"/>
                  </a:cubicBezTo>
                  <a:cubicBezTo>
                    <a:pt x="1013" y="751"/>
                    <a:pt x="1013" y="751"/>
                    <a:pt x="1013" y="751"/>
                  </a:cubicBezTo>
                  <a:cubicBezTo>
                    <a:pt x="1110" y="1068"/>
                    <a:pt x="1110" y="1068"/>
                    <a:pt x="1110" y="1068"/>
                  </a:cubicBezTo>
                  <a:lnTo>
                    <a:pt x="1034" y="1068"/>
                  </a:lnTo>
                  <a:close/>
                  <a:moveTo>
                    <a:pt x="1229" y="1072"/>
                  </a:moveTo>
                  <a:lnTo>
                    <a:pt x="1229" y="1072"/>
                  </a:lnTo>
                  <a:cubicBezTo>
                    <a:pt x="1194" y="1072"/>
                    <a:pt x="1159" y="1061"/>
                    <a:pt x="1140" y="1053"/>
                  </a:cubicBezTo>
                  <a:cubicBezTo>
                    <a:pt x="1154" y="994"/>
                    <a:pt x="1154" y="994"/>
                    <a:pt x="1154" y="994"/>
                  </a:cubicBezTo>
                  <a:cubicBezTo>
                    <a:pt x="1173" y="1002"/>
                    <a:pt x="1202" y="1013"/>
                    <a:pt x="1234" y="1013"/>
                  </a:cubicBezTo>
                  <a:cubicBezTo>
                    <a:pt x="1267" y="1013"/>
                    <a:pt x="1284" y="1000"/>
                    <a:pt x="1284" y="979"/>
                  </a:cubicBezTo>
                  <a:cubicBezTo>
                    <a:pt x="1284" y="958"/>
                    <a:pt x="1270" y="947"/>
                    <a:pt x="1231" y="934"/>
                  </a:cubicBezTo>
                  <a:cubicBezTo>
                    <a:pt x="1180" y="915"/>
                    <a:pt x="1144" y="886"/>
                    <a:pt x="1144" y="839"/>
                  </a:cubicBezTo>
                  <a:cubicBezTo>
                    <a:pt x="1144" y="787"/>
                    <a:pt x="1189" y="744"/>
                    <a:pt x="1263" y="744"/>
                  </a:cubicBezTo>
                  <a:cubicBezTo>
                    <a:pt x="1299" y="744"/>
                    <a:pt x="1324" y="753"/>
                    <a:pt x="1343" y="761"/>
                  </a:cubicBezTo>
                  <a:cubicBezTo>
                    <a:pt x="1329" y="818"/>
                    <a:pt x="1329" y="818"/>
                    <a:pt x="1329" y="818"/>
                  </a:cubicBezTo>
                  <a:cubicBezTo>
                    <a:pt x="1316" y="812"/>
                    <a:pt x="1293" y="804"/>
                    <a:pt x="1263" y="804"/>
                  </a:cubicBezTo>
                  <a:cubicBezTo>
                    <a:pt x="1231" y="804"/>
                    <a:pt x="1217" y="818"/>
                    <a:pt x="1217" y="833"/>
                  </a:cubicBezTo>
                  <a:cubicBezTo>
                    <a:pt x="1217" y="854"/>
                    <a:pt x="1234" y="863"/>
                    <a:pt x="1276" y="880"/>
                  </a:cubicBezTo>
                  <a:cubicBezTo>
                    <a:pt x="1331" y="899"/>
                    <a:pt x="1356" y="928"/>
                    <a:pt x="1356" y="972"/>
                  </a:cubicBezTo>
                  <a:cubicBezTo>
                    <a:pt x="1356" y="1025"/>
                    <a:pt x="1316" y="1072"/>
                    <a:pt x="1229" y="1072"/>
                  </a:cubicBezTo>
                  <a:close/>
                  <a:moveTo>
                    <a:pt x="1483" y="1072"/>
                  </a:moveTo>
                  <a:lnTo>
                    <a:pt x="1483" y="1072"/>
                  </a:lnTo>
                  <a:cubicBezTo>
                    <a:pt x="1447" y="1072"/>
                    <a:pt x="1411" y="1061"/>
                    <a:pt x="1394" y="1053"/>
                  </a:cubicBezTo>
                  <a:cubicBezTo>
                    <a:pt x="1409" y="994"/>
                    <a:pt x="1409" y="994"/>
                    <a:pt x="1409" y="994"/>
                  </a:cubicBezTo>
                  <a:cubicBezTo>
                    <a:pt x="1426" y="1002"/>
                    <a:pt x="1457" y="1013"/>
                    <a:pt x="1487" y="1013"/>
                  </a:cubicBezTo>
                  <a:cubicBezTo>
                    <a:pt x="1521" y="1013"/>
                    <a:pt x="1538" y="1000"/>
                    <a:pt x="1538" y="979"/>
                  </a:cubicBezTo>
                  <a:cubicBezTo>
                    <a:pt x="1538" y="958"/>
                    <a:pt x="1523" y="947"/>
                    <a:pt x="1485" y="934"/>
                  </a:cubicBezTo>
                  <a:cubicBezTo>
                    <a:pt x="1432" y="915"/>
                    <a:pt x="1396" y="886"/>
                    <a:pt x="1396" y="839"/>
                  </a:cubicBezTo>
                  <a:cubicBezTo>
                    <a:pt x="1396" y="787"/>
                    <a:pt x="1443" y="744"/>
                    <a:pt x="1516" y="744"/>
                  </a:cubicBezTo>
                  <a:cubicBezTo>
                    <a:pt x="1552" y="744"/>
                    <a:pt x="1580" y="753"/>
                    <a:pt x="1599" y="761"/>
                  </a:cubicBezTo>
                  <a:cubicBezTo>
                    <a:pt x="1582" y="818"/>
                    <a:pt x="1582" y="818"/>
                    <a:pt x="1582" y="818"/>
                  </a:cubicBezTo>
                  <a:cubicBezTo>
                    <a:pt x="1569" y="812"/>
                    <a:pt x="1546" y="804"/>
                    <a:pt x="1516" y="804"/>
                  </a:cubicBezTo>
                  <a:cubicBezTo>
                    <a:pt x="1485" y="804"/>
                    <a:pt x="1470" y="818"/>
                    <a:pt x="1470" y="833"/>
                  </a:cubicBezTo>
                  <a:cubicBezTo>
                    <a:pt x="1470" y="854"/>
                    <a:pt x="1487" y="863"/>
                    <a:pt x="1529" y="880"/>
                  </a:cubicBezTo>
                  <a:cubicBezTo>
                    <a:pt x="1584" y="899"/>
                    <a:pt x="1609" y="928"/>
                    <a:pt x="1609" y="972"/>
                  </a:cubicBezTo>
                  <a:cubicBezTo>
                    <a:pt x="1611" y="1025"/>
                    <a:pt x="1569" y="1072"/>
                    <a:pt x="1483" y="1072"/>
                  </a:cubicBezTo>
                  <a:close/>
                  <a:moveTo>
                    <a:pt x="1590" y="435"/>
                  </a:moveTo>
                  <a:lnTo>
                    <a:pt x="1590" y="435"/>
                  </a:lnTo>
                  <a:cubicBezTo>
                    <a:pt x="1550" y="471"/>
                    <a:pt x="1493" y="490"/>
                    <a:pt x="1426" y="490"/>
                  </a:cubicBezTo>
                  <a:cubicBezTo>
                    <a:pt x="1411" y="490"/>
                    <a:pt x="1398" y="488"/>
                    <a:pt x="1388" y="486"/>
                  </a:cubicBezTo>
                  <a:cubicBezTo>
                    <a:pt x="1388" y="666"/>
                    <a:pt x="1388" y="666"/>
                    <a:pt x="1388" y="666"/>
                  </a:cubicBezTo>
                  <a:cubicBezTo>
                    <a:pt x="1274" y="666"/>
                    <a:pt x="1274" y="666"/>
                    <a:pt x="1274" y="666"/>
                  </a:cubicBezTo>
                  <a:cubicBezTo>
                    <a:pt x="1274" y="169"/>
                    <a:pt x="1274" y="169"/>
                    <a:pt x="1274" y="169"/>
                  </a:cubicBezTo>
                  <a:cubicBezTo>
                    <a:pt x="1310" y="163"/>
                    <a:pt x="1358" y="158"/>
                    <a:pt x="1428" y="158"/>
                  </a:cubicBezTo>
                  <a:cubicBezTo>
                    <a:pt x="1497" y="158"/>
                    <a:pt x="1548" y="171"/>
                    <a:pt x="1582" y="199"/>
                  </a:cubicBezTo>
                  <a:cubicBezTo>
                    <a:pt x="1616" y="224"/>
                    <a:pt x="1637" y="266"/>
                    <a:pt x="1637" y="317"/>
                  </a:cubicBezTo>
                  <a:cubicBezTo>
                    <a:pt x="1637" y="365"/>
                    <a:pt x="1620" y="408"/>
                    <a:pt x="1590" y="43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53" name="Group 128">
            <a:extLst>
              <a:ext uri="{FF2B5EF4-FFF2-40B4-BE49-F238E27FC236}">
                <a16:creationId xmlns:a16="http://schemas.microsoft.com/office/drawing/2014/main" id="{F6A2F0C0-BD49-E3D1-00FA-DDB10B5E7FC9}"/>
              </a:ext>
            </a:extLst>
          </p:cNvPr>
          <p:cNvGrpSpPr>
            <a:grpSpLocks/>
          </p:cNvGrpSpPr>
          <p:nvPr/>
        </p:nvGrpSpPr>
        <p:grpSpPr bwMode="auto">
          <a:xfrm>
            <a:off x="2338085" y="4296914"/>
            <a:ext cx="436405" cy="285219"/>
            <a:chOff x="5645" y="241"/>
            <a:chExt cx="423" cy="277"/>
          </a:xfrm>
          <a:solidFill>
            <a:schemeClr val="accent1"/>
          </a:solidFill>
        </p:grpSpPr>
        <p:sp>
          <p:nvSpPr>
            <p:cNvPr id="54" name="Freeform 129">
              <a:extLst>
                <a:ext uri="{FF2B5EF4-FFF2-40B4-BE49-F238E27FC236}">
                  <a16:creationId xmlns:a16="http://schemas.microsoft.com/office/drawing/2014/main" id="{E1989C7B-9AFC-7DE1-7A93-E7A9AB5E9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6" y="240"/>
              <a:ext cx="380" cy="138"/>
            </a:xfrm>
            <a:custGeom>
              <a:avLst/>
              <a:gdLst>
                <a:gd name="T0" fmla="*/ 0 w 1680"/>
                <a:gd name="T1" fmla="*/ 0 h 612"/>
                <a:gd name="T2" fmla="*/ 0 w 1680"/>
                <a:gd name="T3" fmla="*/ 0 h 612"/>
                <a:gd name="T4" fmla="*/ 0 w 1680"/>
                <a:gd name="T5" fmla="*/ 0 h 612"/>
                <a:gd name="T6" fmla="*/ 0 w 1680"/>
                <a:gd name="T7" fmla="*/ 0 h 612"/>
                <a:gd name="T8" fmla="*/ 0 w 1680"/>
                <a:gd name="T9" fmla="*/ 0 h 612"/>
                <a:gd name="T10" fmla="*/ 0 w 1680"/>
                <a:gd name="T11" fmla="*/ 0 h 612"/>
                <a:gd name="T12" fmla="*/ 0 w 1680"/>
                <a:gd name="T13" fmla="*/ 0 h 612"/>
                <a:gd name="T14" fmla="*/ 0 w 1680"/>
                <a:gd name="T15" fmla="*/ 0 h 612"/>
                <a:gd name="T16" fmla="*/ 0 w 1680"/>
                <a:gd name="T17" fmla="*/ 0 h 612"/>
                <a:gd name="T18" fmla="*/ 0 w 1680"/>
                <a:gd name="T19" fmla="*/ 0 h 612"/>
                <a:gd name="T20" fmla="*/ 0 w 1680"/>
                <a:gd name="T21" fmla="*/ 0 h 6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80" h="612">
                  <a:moveTo>
                    <a:pt x="1479" y="3"/>
                  </a:moveTo>
                  <a:lnTo>
                    <a:pt x="1479" y="3"/>
                  </a:lnTo>
                  <a:cubicBezTo>
                    <a:pt x="200" y="3"/>
                    <a:pt x="200" y="3"/>
                    <a:pt x="200" y="3"/>
                  </a:cubicBezTo>
                  <a:cubicBezTo>
                    <a:pt x="129" y="0"/>
                    <a:pt x="57" y="23"/>
                    <a:pt x="0" y="68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624" y="473"/>
                    <a:pt x="624" y="473"/>
                    <a:pt x="624" y="473"/>
                  </a:cubicBezTo>
                  <a:cubicBezTo>
                    <a:pt x="629" y="475"/>
                    <a:pt x="634" y="476"/>
                    <a:pt x="639" y="481"/>
                  </a:cubicBezTo>
                  <a:cubicBezTo>
                    <a:pt x="839" y="611"/>
                    <a:pt x="839" y="611"/>
                    <a:pt x="839" y="611"/>
                  </a:cubicBezTo>
                  <a:cubicBezTo>
                    <a:pt x="1608" y="116"/>
                    <a:pt x="1608" y="116"/>
                    <a:pt x="1608" y="116"/>
                  </a:cubicBezTo>
                  <a:cubicBezTo>
                    <a:pt x="1679" y="68"/>
                    <a:pt x="1679" y="68"/>
                    <a:pt x="1679" y="68"/>
                  </a:cubicBezTo>
                  <a:cubicBezTo>
                    <a:pt x="1623" y="25"/>
                    <a:pt x="1553" y="1"/>
                    <a:pt x="1479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5" name="Freeform 130">
              <a:extLst>
                <a:ext uri="{FF2B5EF4-FFF2-40B4-BE49-F238E27FC236}">
                  <a16:creationId xmlns:a16="http://schemas.microsoft.com/office/drawing/2014/main" id="{B0D6685D-C87F-40CC-F554-82CE10433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4" y="270"/>
              <a:ext cx="145" cy="224"/>
            </a:xfrm>
            <a:custGeom>
              <a:avLst/>
              <a:gdLst>
                <a:gd name="T0" fmla="*/ 0 w 643"/>
                <a:gd name="T1" fmla="*/ 0 h 992"/>
                <a:gd name="T2" fmla="*/ 0 w 643"/>
                <a:gd name="T3" fmla="*/ 0 h 992"/>
                <a:gd name="T4" fmla="*/ 0 w 643"/>
                <a:gd name="T5" fmla="*/ 0 h 992"/>
                <a:gd name="T6" fmla="*/ 0 w 643"/>
                <a:gd name="T7" fmla="*/ 0 h 992"/>
                <a:gd name="T8" fmla="*/ 0 w 643"/>
                <a:gd name="T9" fmla="*/ 0 h 992"/>
                <a:gd name="T10" fmla="*/ 0 w 643"/>
                <a:gd name="T11" fmla="*/ 0 h 992"/>
                <a:gd name="T12" fmla="*/ 0 w 643"/>
                <a:gd name="T13" fmla="*/ 0 h 992"/>
                <a:gd name="T14" fmla="*/ 0 w 643"/>
                <a:gd name="T15" fmla="*/ 0 h 992"/>
                <a:gd name="T16" fmla="*/ 0 w 643"/>
                <a:gd name="T17" fmla="*/ 0 h 99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3" h="992">
                  <a:moveTo>
                    <a:pt x="114" y="44"/>
                  </a:moveTo>
                  <a:lnTo>
                    <a:pt x="114" y="44"/>
                  </a:lnTo>
                  <a:cubicBezTo>
                    <a:pt x="45" y="0"/>
                    <a:pt x="45" y="0"/>
                    <a:pt x="45" y="0"/>
                  </a:cubicBezTo>
                  <a:cubicBezTo>
                    <a:pt x="17" y="50"/>
                    <a:pt x="2" y="107"/>
                    <a:pt x="2" y="165"/>
                  </a:cubicBezTo>
                  <a:cubicBezTo>
                    <a:pt x="2" y="801"/>
                    <a:pt x="2" y="801"/>
                    <a:pt x="2" y="801"/>
                  </a:cubicBezTo>
                  <a:cubicBezTo>
                    <a:pt x="0" y="869"/>
                    <a:pt x="22" y="936"/>
                    <a:pt x="60" y="991"/>
                  </a:cubicBezTo>
                  <a:cubicBezTo>
                    <a:pt x="117" y="931"/>
                    <a:pt x="117" y="931"/>
                    <a:pt x="117" y="931"/>
                  </a:cubicBezTo>
                  <a:cubicBezTo>
                    <a:pt x="642" y="387"/>
                    <a:pt x="642" y="387"/>
                    <a:pt x="642" y="387"/>
                  </a:cubicBezTo>
                  <a:lnTo>
                    <a:pt x="114" y="4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6" name="Freeform 131">
              <a:extLst>
                <a:ext uri="{FF2B5EF4-FFF2-40B4-BE49-F238E27FC236}">
                  <a16:creationId xmlns:a16="http://schemas.microsoft.com/office/drawing/2014/main" id="{4348FFF0-5B5A-21A2-6BD3-4001581E0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1" y="368"/>
              <a:ext cx="370" cy="150"/>
            </a:xfrm>
            <a:custGeom>
              <a:avLst/>
              <a:gdLst>
                <a:gd name="T0" fmla="*/ 0 w 1636"/>
                <a:gd name="T1" fmla="*/ 0 h 667"/>
                <a:gd name="T2" fmla="*/ 0 w 1636"/>
                <a:gd name="T3" fmla="*/ 0 h 667"/>
                <a:gd name="T4" fmla="*/ 0 w 1636"/>
                <a:gd name="T5" fmla="*/ 0 h 667"/>
                <a:gd name="T6" fmla="*/ 0 w 1636"/>
                <a:gd name="T7" fmla="*/ 0 h 667"/>
                <a:gd name="T8" fmla="*/ 0 w 1636"/>
                <a:gd name="T9" fmla="*/ 0 h 667"/>
                <a:gd name="T10" fmla="*/ 0 w 1636"/>
                <a:gd name="T11" fmla="*/ 0 h 667"/>
                <a:gd name="T12" fmla="*/ 0 w 1636"/>
                <a:gd name="T13" fmla="*/ 0 h 667"/>
                <a:gd name="T14" fmla="*/ 0 w 1636"/>
                <a:gd name="T15" fmla="*/ 0 h 667"/>
                <a:gd name="T16" fmla="*/ 0 w 1636"/>
                <a:gd name="T17" fmla="*/ 0 h 667"/>
                <a:gd name="T18" fmla="*/ 0 w 1636"/>
                <a:gd name="T19" fmla="*/ 0 h 667"/>
                <a:gd name="T20" fmla="*/ 0 w 1636"/>
                <a:gd name="T21" fmla="*/ 0 h 667"/>
                <a:gd name="T22" fmla="*/ 0 w 1636"/>
                <a:gd name="T23" fmla="*/ 0 h 667"/>
                <a:gd name="T24" fmla="*/ 0 w 1636"/>
                <a:gd name="T25" fmla="*/ 0 h 667"/>
                <a:gd name="T26" fmla="*/ 0 w 1636"/>
                <a:gd name="T27" fmla="*/ 0 h 667"/>
                <a:gd name="T28" fmla="*/ 0 w 1636"/>
                <a:gd name="T29" fmla="*/ 0 h 667"/>
                <a:gd name="T30" fmla="*/ 0 w 1636"/>
                <a:gd name="T31" fmla="*/ 0 h 667"/>
                <a:gd name="T32" fmla="*/ 0 w 1636"/>
                <a:gd name="T33" fmla="*/ 0 h 6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36" h="667">
                  <a:moveTo>
                    <a:pt x="1579" y="554"/>
                  </a:moveTo>
                  <a:lnTo>
                    <a:pt x="1579" y="554"/>
                  </a:lnTo>
                  <a:cubicBezTo>
                    <a:pt x="1044" y="0"/>
                    <a:pt x="1044" y="0"/>
                    <a:pt x="1044" y="0"/>
                  </a:cubicBezTo>
                  <a:cubicBezTo>
                    <a:pt x="839" y="131"/>
                    <a:pt x="839" y="131"/>
                    <a:pt x="839" y="131"/>
                  </a:cubicBezTo>
                  <a:cubicBezTo>
                    <a:pt x="832" y="134"/>
                    <a:pt x="832" y="134"/>
                    <a:pt x="832" y="134"/>
                  </a:cubicBezTo>
                  <a:cubicBezTo>
                    <a:pt x="829" y="134"/>
                    <a:pt x="829" y="134"/>
                    <a:pt x="829" y="134"/>
                  </a:cubicBezTo>
                  <a:cubicBezTo>
                    <a:pt x="825" y="136"/>
                    <a:pt x="822" y="136"/>
                    <a:pt x="819" y="134"/>
                  </a:cubicBezTo>
                  <a:cubicBezTo>
                    <a:pt x="816" y="136"/>
                    <a:pt x="813" y="136"/>
                    <a:pt x="810" y="134"/>
                  </a:cubicBezTo>
                  <a:cubicBezTo>
                    <a:pt x="806" y="134"/>
                    <a:pt x="806" y="134"/>
                    <a:pt x="806" y="134"/>
                  </a:cubicBezTo>
                  <a:cubicBezTo>
                    <a:pt x="798" y="131"/>
                    <a:pt x="798" y="131"/>
                    <a:pt x="798" y="131"/>
                  </a:cubicBezTo>
                  <a:cubicBezTo>
                    <a:pt x="595" y="2"/>
                    <a:pt x="595" y="2"/>
                    <a:pt x="595" y="2"/>
                  </a:cubicBezTo>
                  <a:cubicBezTo>
                    <a:pt x="56" y="556"/>
                    <a:pt x="56" y="556"/>
                    <a:pt x="56" y="556"/>
                  </a:cubicBezTo>
                  <a:cubicBezTo>
                    <a:pt x="0" y="616"/>
                    <a:pt x="0" y="616"/>
                    <a:pt x="0" y="616"/>
                  </a:cubicBezTo>
                  <a:cubicBezTo>
                    <a:pt x="51" y="649"/>
                    <a:pt x="115" y="666"/>
                    <a:pt x="176" y="664"/>
                  </a:cubicBezTo>
                  <a:cubicBezTo>
                    <a:pt x="1459" y="664"/>
                    <a:pt x="1459" y="664"/>
                    <a:pt x="1459" y="664"/>
                  </a:cubicBezTo>
                  <a:cubicBezTo>
                    <a:pt x="1520" y="664"/>
                    <a:pt x="1582" y="646"/>
                    <a:pt x="1635" y="612"/>
                  </a:cubicBezTo>
                  <a:lnTo>
                    <a:pt x="1579" y="5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7" name="Freeform 132">
              <a:extLst>
                <a:ext uri="{FF2B5EF4-FFF2-40B4-BE49-F238E27FC236}">
                  <a16:creationId xmlns:a16="http://schemas.microsoft.com/office/drawing/2014/main" id="{D9CB98AA-39C7-B7F0-027C-47AE99E7B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4" y="270"/>
              <a:ext cx="145" cy="224"/>
            </a:xfrm>
            <a:custGeom>
              <a:avLst/>
              <a:gdLst>
                <a:gd name="T0" fmla="*/ 0 w 642"/>
                <a:gd name="T1" fmla="*/ 0 h 990"/>
                <a:gd name="T2" fmla="*/ 0 w 642"/>
                <a:gd name="T3" fmla="*/ 0 h 990"/>
                <a:gd name="T4" fmla="*/ 0 w 642"/>
                <a:gd name="T5" fmla="*/ 0 h 990"/>
                <a:gd name="T6" fmla="*/ 0 w 642"/>
                <a:gd name="T7" fmla="*/ 0 h 990"/>
                <a:gd name="T8" fmla="*/ 0 w 642"/>
                <a:gd name="T9" fmla="*/ 0 h 990"/>
                <a:gd name="T10" fmla="*/ 0 w 642"/>
                <a:gd name="T11" fmla="*/ 0 h 990"/>
                <a:gd name="T12" fmla="*/ 0 w 642"/>
                <a:gd name="T13" fmla="*/ 0 h 990"/>
                <a:gd name="T14" fmla="*/ 0 w 642"/>
                <a:gd name="T15" fmla="*/ 0 h 990"/>
                <a:gd name="T16" fmla="*/ 0 w 642"/>
                <a:gd name="T17" fmla="*/ 0 h 9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" h="990">
                  <a:moveTo>
                    <a:pt x="638" y="801"/>
                  </a:moveTo>
                  <a:lnTo>
                    <a:pt x="638" y="801"/>
                  </a:lnTo>
                  <a:cubicBezTo>
                    <a:pt x="638" y="167"/>
                    <a:pt x="638" y="167"/>
                    <a:pt x="638" y="167"/>
                  </a:cubicBezTo>
                  <a:cubicBezTo>
                    <a:pt x="640" y="109"/>
                    <a:pt x="625" y="50"/>
                    <a:pt x="596" y="0"/>
                  </a:cubicBezTo>
                  <a:cubicBezTo>
                    <a:pt x="528" y="44"/>
                    <a:pt x="528" y="44"/>
                    <a:pt x="528" y="44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523" y="931"/>
                    <a:pt x="523" y="931"/>
                    <a:pt x="523" y="931"/>
                  </a:cubicBezTo>
                  <a:cubicBezTo>
                    <a:pt x="581" y="989"/>
                    <a:pt x="581" y="989"/>
                    <a:pt x="581" y="989"/>
                  </a:cubicBezTo>
                  <a:cubicBezTo>
                    <a:pt x="621" y="936"/>
                    <a:pt x="641" y="869"/>
                    <a:pt x="638" y="80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58" name="Presen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63DE299-3837-F7F4-F143-725F59DCE56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120903" y="4828038"/>
            <a:ext cx="407138" cy="407907"/>
            <a:chOff x="2478" y="795"/>
            <a:chExt cx="2648" cy="2653"/>
          </a:xfrm>
          <a:solidFill>
            <a:schemeClr val="accent1"/>
          </a:solidFill>
        </p:grpSpPr>
        <p:sp>
          <p:nvSpPr>
            <p:cNvPr id="59" name="Freeform 529">
              <a:extLst>
                <a:ext uri="{FF2B5EF4-FFF2-40B4-BE49-F238E27FC236}">
                  <a16:creationId xmlns:a16="http://schemas.microsoft.com/office/drawing/2014/main" id="{4127938F-7F37-BC8B-796F-CF0151835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20"/>
              <a:ext cx="794" cy="1328"/>
            </a:xfrm>
            <a:custGeom>
              <a:avLst/>
              <a:gdLst>
                <a:gd name="T0" fmla="*/ 65 w 200"/>
                <a:gd name="T1" fmla="*/ 134 h 334"/>
                <a:gd name="T2" fmla="*/ 51 w 200"/>
                <a:gd name="T3" fmla="*/ 0 h 334"/>
                <a:gd name="T4" fmla="*/ 0 w 200"/>
                <a:gd name="T5" fmla="*/ 0 h 334"/>
                <a:gd name="T6" fmla="*/ 0 w 200"/>
                <a:gd name="T7" fmla="*/ 267 h 334"/>
                <a:gd name="T8" fmla="*/ 67 w 200"/>
                <a:gd name="T9" fmla="*/ 334 h 334"/>
                <a:gd name="T10" fmla="*/ 200 w 200"/>
                <a:gd name="T11" fmla="*/ 334 h 334"/>
                <a:gd name="T12" fmla="*/ 200 w 200"/>
                <a:gd name="T13" fmla="*/ 148 h 334"/>
                <a:gd name="T14" fmla="*/ 140 w 200"/>
                <a:gd name="T15" fmla="*/ 166 h 334"/>
                <a:gd name="T16" fmla="*/ 65 w 200"/>
                <a:gd name="T17" fmla="*/ 1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34">
                  <a:moveTo>
                    <a:pt x="65" y="134"/>
                  </a:moveTo>
                  <a:cubicBezTo>
                    <a:pt x="28" y="98"/>
                    <a:pt x="24" y="42"/>
                    <a:pt x="51" y="0"/>
                  </a:cubicBezTo>
                  <a:lnTo>
                    <a:pt x="0" y="0"/>
                  </a:lnTo>
                  <a:lnTo>
                    <a:pt x="0" y="267"/>
                  </a:lnTo>
                  <a:cubicBezTo>
                    <a:pt x="0" y="304"/>
                    <a:pt x="30" y="334"/>
                    <a:pt x="67" y="334"/>
                  </a:cubicBezTo>
                  <a:lnTo>
                    <a:pt x="200" y="334"/>
                  </a:lnTo>
                  <a:lnTo>
                    <a:pt x="200" y="148"/>
                  </a:lnTo>
                  <a:cubicBezTo>
                    <a:pt x="182" y="160"/>
                    <a:pt x="161" y="166"/>
                    <a:pt x="140" y="166"/>
                  </a:cubicBezTo>
                  <a:cubicBezTo>
                    <a:pt x="113" y="166"/>
                    <a:pt x="86" y="155"/>
                    <a:pt x="65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530">
              <a:extLst>
                <a:ext uri="{FF2B5EF4-FFF2-40B4-BE49-F238E27FC236}">
                  <a16:creationId xmlns:a16="http://schemas.microsoft.com/office/drawing/2014/main" id="{7378899D-5A26-CF09-A183-8F02EC808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" y="2120"/>
              <a:ext cx="480" cy="461"/>
            </a:xfrm>
            <a:custGeom>
              <a:avLst/>
              <a:gdLst>
                <a:gd name="T0" fmla="*/ 103 w 121"/>
                <a:gd name="T1" fmla="*/ 99 h 116"/>
                <a:gd name="T2" fmla="*/ 120 w 121"/>
                <a:gd name="T3" fmla="*/ 1 h 116"/>
                <a:gd name="T4" fmla="*/ 100 w 121"/>
                <a:gd name="T5" fmla="*/ 0 h 116"/>
                <a:gd name="T6" fmla="*/ 22 w 121"/>
                <a:gd name="T7" fmla="*/ 18 h 116"/>
                <a:gd name="T8" fmla="*/ 22 w 121"/>
                <a:gd name="T9" fmla="*/ 99 h 116"/>
                <a:gd name="T10" fmla="*/ 62 w 121"/>
                <a:gd name="T11" fmla="*/ 116 h 116"/>
                <a:gd name="T12" fmla="*/ 103 w 121"/>
                <a:gd name="T13" fmla="*/ 9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16">
                  <a:moveTo>
                    <a:pt x="103" y="99"/>
                  </a:moveTo>
                  <a:cubicBezTo>
                    <a:pt x="121" y="81"/>
                    <a:pt x="121" y="44"/>
                    <a:pt x="120" y="1"/>
                  </a:cubicBezTo>
                  <a:cubicBezTo>
                    <a:pt x="113" y="0"/>
                    <a:pt x="106" y="0"/>
                    <a:pt x="100" y="0"/>
                  </a:cubicBezTo>
                  <a:cubicBezTo>
                    <a:pt x="57" y="0"/>
                    <a:pt x="35" y="6"/>
                    <a:pt x="22" y="18"/>
                  </a:cubicBezTo>
                  <a:cubicBezTo>
                    <a:pt x="0" y="40"/>
                    <a:pt x="0" y="77"/>
                    <a:pt x="22" y="99"/>
                  </a:cubicBezTo>
                  <a:cubicBezTo>
                    <a:pt x="33" y="110"/>
                    <a:pt x="47" y="116"/>
                    <a:pt x="62" y="116"/>
                  </a:cubicBezTo>
                  <a:cubicBezTo>
                    <a:pt x="78" y="116"/>
                    <a:pt x="92" y="110"/>
                    <a:pt x="103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531">
              <a:extLst>
                <a:ext uri="{FF2B5EF4-FFF2-40B4-BE49-F238E27FC236}">
                  <a16:creationId xmlns:a16="http://schemas.microsoft.com/office/drawing/2014/main" id="{912359AB-90F5-CDF9-E568-9EBA227E6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1404"/>
              <a:ext cx="476" cy="453"/>
            </a:xfrm>
            <a:custGeom>
              <a:avLst/>
              <a:gdLst>
                <a:gd name="T0" fmla="*/ 50 w 120"/>
                <a:gd name="T1" fmla="*/ 114 h 114"/>
                <a:gd name="T2" fmla="*/ 98 w 120"/>
                <a:gd name="T3" fmla="*/ 97 h 114"/>
                <a:gd name="T4" fmla="*/ 98 w 120"/>
                <a:gd name="T5" fmla="*/ 16 h 114"/>
                <a:gd name="T6" fmla="*/ 58 w 120"/>
                <a:gd name="T7" fmla="*/ 0 h 114"/>
                <a:gd name="T8" fmla="*/ 17 w 120"/>
                <a:gd name="T9" fmla="*/ 16 h 114"/>
                <a:gd name="T10" fmla="*/ 0 w 120"/>
                <a:gd name="T11" fmla="*/ 86 h 114"/>
                <a:gd name="T12" fmla="*/ 0 w 120"/>
                <a:gd name="T13" fmla="*/ 103 h 114"/>
                <a:gd name="T14" fmla="*/ 0 w 120"/>
                <a:gd name="T15" fmla="*/ 114 h 114"/>
                <a:gd name="T16" fmla="*/ 50 w 120"/>
                <a:gd name="T1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4">
                  <a:moveTo>
                    <a:pt x="50" y="114"/>
                  </a:moveTo>
                  <a:cubicBezTo>
                    <a:pt x="74" y="112"/>
                    <a:pt x="89" y="106"/>
                    <a:pt x="98" y="97"/>
                  </a:cubicBezTo>
                  <a:cubicBezTo>
                    <a:pt x="120" y="75"/>
                    <a:pt x="120" y="38"/>
                    <a:pt x="98" y="16"/>
                  </a:cubicBezTo>
                  <a:cubicBezTo>
                    <a:pt x="87" y="5"/>
                    <a:pt x="73" y="0"/>
                    <a:pt x="58" y="0"/>
                  </a:cubicBezTo>
                  <a:cubicBezTo>
                    <a:pt x="43" y="0"/>
                    <a:pt x="28" y="5"/>
                    <a:pt x="17" y="16"/>
                  </a:cubicBezTo>
                  <a:cubicBezTo>
                    <a:pt x="4" y="30"/>
                    <a:pt x="0" y="55"/>
                    <a:pt x="0" y="86"/>
                  </a:cubicBezTo>
                  <a:lnTo>
                    <a:pt x="0" y="103"/>
                  </a:lnTo>
                  <a:cubicBezTo>
                    <a:pt x="0" y="106"/>
                    <a:pt x="0" y="110"/>
                    <a:pt x="0" y="114"/>
                  </a:cubicBezTo>
                  <a:lnTo>
                    <a:pt x="50" y="11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532">
              <a:extLst>
                <a:ext uri="{FF2B5EF4-FFF2-40B4-BE49-F238E27FC236}">
                  <a16:creationId xmlns:a16="http://schemas.microsoft.com/office/drawing/2014/main" id="{4E3F4B6B-B05D-FBC1-18AF-533B3F2C8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795"/>
              <a:ext cx="794" cy="1062"/>
            </a:xfrm>
            <a:custGeom>
              <a:avLst/>
              <a:gdLst>
                <a:gd name="T0" fmla="*/ 0 w 200"/>
                <a:gd name="T1" fmla="*/ 67 h 267"/>
                <a:gd name="T2" fmla="*/ 0 w 200"/>
                <a:gd name="T3" fmla="*/ 267 h 267"/>
                <a:gd name="T4" fmla="*/ 137 w 200"/>
                <a:gd name="T5" fmla="*/ 267 h 267"/>
                <a:gd name="T6" fmla="*/ 79 w 200"/>
                <a:gd name="T7" fmla="*/ 162 h 267"/>
                <a:gd name="T8" fmla="*/ 101 w 200"/>
                <a:gd name="T9" fmla="*/ 134 h 267"/>
                <a:gd name="T10" fmla="*/ 129 w 200"/>
                <a:gd name="T11" fmla="*/ 157 h 267"/>
                <a:gd name="T12" fmla="*/ 200 w 200"/>
                <a:gd name="T13" fmla="*/ 251 h 267"/>
                <a:gd name="T14" fmla="*/ 200 w 200"/>
                <a:gd name="T15" fmla="*/ 0 h 267"/>
                <a:gd name="T16" fmla="*/ 67 w 200"/>
                <a:gd name="T17" fmla="*/ 0 h 267"/>
                <a:gd name="T18" fmla="*/ 0 w 200"/>
                <a:gd name="T19" fmla="*/ 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67">
                  <a:moveTo>
                    <a:pt x="0" y="67"/>
                  </a:moveTo>
                  <a:lnTo>
                    <a:pt x="0" y="267"/>
                  </a:lnTo>
                  <a:lnTo>
                    <a:pt x="137" y="267"/>
                  </a:lnTo>
                  <a:cubicBezTo>
                    <a:pt x="111" y="243"/>
                    <a:pt x="84" y="209"/>
                    <a:pt x="79" y="162"/>
                  </a:cubicBezTo>
                  <a:cubicBezTo>
                    <a:pt x="78" y="148"/>
                    <a:pt x="87" y="136"/>
                    <a:pt x="101" y="134"/>
                  </a:cubicBezTo>
                  <a:cubicBezTo>
                    <a:pt x="115" y="133"/>
                    <a:pt x="127" y="143"/>
                    <a:pt x="129" y="157"/>
                  </a:cubicBezTo>
                  <a:cubicBezTo>
                    <a:pt x="134" y="205"/>
                    <a:pt x="175" y="236"/>
                    <a:pt x="200" y="251"/>
                  </a:cubicBezTo>
                  <a:lnTo>
                    <a:pt x="200" y="0"/>
                  </a:ln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533">
              <a:extLst>
                <a:ext uri="{FF2B5EF4-FFF2-40B4-BE49-F238E27FC236}">
                  <a16:creationId xmlns:a16="http://schemas.microsoft.com/office/drawing/2014/main" id="{A46FE4FD-D920-4E34-6B8E-6418F812A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795"/>
              <a:ext cx="1588" cy="1062"/>
            </a:xfrm>
            <a:custGeom>
              <a:avLst/>
              <a:gdLst>
                <a:gd name="T0" fmla="*/ 333 w 400"/>
                <a:gd name="T1" fmla="*/ 0 h 267"/>
                <a:gd name="T2" fmla="*/ 0 w 400"/>
                <a:gd name="T3" fmla="*/ 0 h 267"/>
                <a:gd name="T4" fmla="*/ 0 w 400"/>
                <a:gd name="T5" fmla="*/ 120 h 267"/>
                <a:gd name="T6" fmla="*/ 58 w 400"/>
                <a:gd name="T7" fmla="*/ 103 h 267"/>
                <a:gd name="T8" fmla="*/ 134 w 400"/>
                <a:gd name="T9" fmla="*/ 134 h 267"/>
                <a:gd name="T10" fmla="*/ 148 w 400"/>
                <a:gd name="T11" fmla="*/ 267 h 267"/>
                <a:gd name="T12" fmla="*/ 400 w 400"/>
                <a:gd name="T13" fmla="*/ 267 h 267"/>
                <a:gd name="T14" fmla="*/ 400 w 400"/>
                <a:gd name="T15" fmla="*/ 67 h 267"/>
                <a:gd name="T16" fmla="*/ 333 w 400"/>
                <a:gd name="T17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67">
                  <a:moveTo>
                    <a:pt x="333" y="0"/>
                  </a:moveTo>
                  <a:lnTo>
                    <a:pt x="0" y="0"/>
                  </a:lnTo>
                  <a:lnTo>
                    <a:pt x="0" y="120"/>
                  </a:lnTo>
                  <a:cubicBezTo>
                    <a:pt x="17" y="108"/>
                    <a:pt x="38" y="103"/>
                    <a:pt x="58" y="103"/>
                  </a:cubicBezTo>
                  <a:cubicBezTo>
                    <a:pt x="85" y="103"/>
                    <a:pt x="113" y="113"/>
                    <a:pt x="134" y="134"/>
                  </a:cubicBezTo>
                  <a:cubicBezTo>
                    <a:pt x="170" y="170"/>
                    <a:pt x="174" y="225"/>
                    <a:pt x="148" y="267"/>
                  </a:cubicBezTo>
                  <a:lnTo>
                    <a:pt x="400" y="267"/>
                  </a:lnTo>
                  <a:lnTo>
                    <a:pt x="400" y="67"/>
                  </a:lnTo>
                  <a:cubicBezTo>
                    <a:pt x="400" y="30"/>
                    <a:pt x="370" y="0"/>
                    <a:pt x="33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534">
              <a:extLst>
                <a:ext uri="{FF2B5EF4-FFF2-40B4-BE49-F238E27FC236}">
                  <a16:creationId xmlns:a16="http://schemas.microsoft.com/office/drawing/2014/main" id="{9A78F624-C0F0-FE95-CA3C-05E5F3920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2120"/>
              <a:ext cx="1588" cy="1328"/>
            </a:xfrm>
            <a:custGeom>
              <a:avLst/>
              <a:gdLst>
                <a:gd name="T0" fmla="*/ 115 w 400"/>
                <a:gd name="T1" fmla="*/ 135 h 334"/>
                <a:gd name="T2" fmla="*/ 90 w 400"/>
                <a:gd name="T3" fmla="*/ 160 h 334"/>
                <a:gd name="T4" fmla="*/ 65 w 400"/>
                <a:gd name="T5" fmla="*/ 135 h 334"/>
                <a:gd name="T6" fmla="*/ 0 w 400"/>
                <a:gd name="T7" fmla="*/ 30 h 334"/>
                <a:gd name="T8" fmla="*/ 0 w 400"/>
                <a:gd name="T9" fmla="*/ 334 h 334"/>
                <a:gd name="T10" fmla="*/ 333 w 400"/>
                <a:gd name="T11" fmla="*/ 334 h 334"/>
                <a:gd name="T12" fmla="*/ 400 w 400"/>
                <a:gd name="T13" fmla="*/ 267 h 334"/>
                <a:gd name="T14" fmla="*/ 400 w 400"/>
                <a:gd name="T15" fmla="*/ 0 h 334"/>
                <a:gd name="T16" fmla="*/ 43 w 400"/>
                <a:gd name="T17" fmla="*/ 0 h 334"/>
                <a:gd name="T18" fmla="*/ 115 w 400"/>
                <a:gd name="T19" fmla="*/ 13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334">
                  <a:moveTo>
                    <a:pt x="115" y="135"/>
                  </a:moveTo>
                  <a:cubicBezTo>
                    <a:pt x="115" y="149"/>
                    <a:pt x="104" y="160"/>
                    <a:pt x="90" y="160"/>
                  </a:cubicBezTo>
                  <a:cubicBezTo>
                    <a:pt x="76" y="160"/>
                    <a:pt x="65" y="149"/>
                    <a:pt x="65" y="135"/>
                  </a:cubicBezTo>
                  <a:cubicBezTo>
                    <a:pt x="65" y="83"/>
                    <a:pt x="21" y="46"/>
                    <a:pt x="0" y="30"/>
                  </a:cubicBezTo>
                  <a:lnTo>
                    <a:pt x="0" y="334"/>
                  </a:lnTo>
                  <a:lnTo>
                    <a:pt x="333" y="334"/>
                  </a:lnTo>
                  <a:cubicBezTo>
                    <a:pt x="370" y="334"/>
                    <a:pt x="400" y="304"/>
                    <a:pt x="400" y="267"/>
                  </a:cubicBezTo>
                  <a:lnTo>
                    <a:pt x="400" y="0"/>
                  </a:lnTo>
                  <a:lnTo>
                    <a:pt x="43" y="0"/>
                  </a:lnTo>
                  <a:cubicBezTo>
                    <a:pt x="73" y="25"/>
                    <a:pt x="115" y="71"/>
                    <a:pt x="115" y="1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Credit_car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547F9CF-1EC3-67AF-AFE0-4208CACB623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210263" y="4970947"/>
            <a:ext cx="481747" cy="337114"/>
            <a:chOff x="2478" y="1261"/>
            <a:chExt cx="2648" cy="1853"/>
          </a:xfrm>
          <a:solidFill>
            <a:schemeClr val="accent1"/>
          </a:solidFill>
        </p:grpSpPr>
        <p:sp>
          <p:nvSpPr>
            <p:cNvPr id="66" name="Freeform 349">
              <a:extLst>
                <a:ext uri="{FF2B5EF4-FFF2-40B4-BE49-F238E27FC236}">
                  <a16:creationId xmlns:a16="http://schemas.microsoft.com/office/drawing/2014/main" id="{CADD8FC3-83B6-003F-FBBE-837016D9CA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2056"/>
              <a:ext cx="2648" cy="1058"/>
            </a:xfrm>
            <a:custGeom>
              <a:avLst/>
              <a:gdLst>
                <a:gd name="T0" fmla="*/ 300 w 667"/>
                <a:gd name="T1" fmla="*/ 133 h 266"/>
                <a:gd name="T2" fmla="*/ 333 w 667"/>
                <a:gd name="T3" fmla="*/ 166 h 266"/>
                <a:gd name="T4" fmla="*/ 300 w 667"/>
                <a:gd name="T5" fmla="*/ 200 h 266"/>
                <a:gd name="T6" fmla="*/ 267 w 667"/>
                <a:gd name="T7" fmla="*/ 166 h 266"/>
                <a:gd name="T8" fmla="*/ 300 w 667"/>
                <a:gd name="T9" fmla="*/ 133 h 266"/>
                <a:gd name="T10" fmla="*/ 433 w 667"/>
                <a:gd name="T11" fmla="*/ 133 h 266"/>
                <a:gd name="T12" fmla="*/ 467 w 667"/>
                <a:gd name="T13" fmla="*/ 166 h 266"/>
                <a:gd name="T14" fmla="*/ 433 w 667"/>
                <a:gd name="T15" fmla="*/ 200 h 266"/>
                <a:gd name="T16" fmla="*/ 400 w 667"/>
                <a:gd name="T17" fmla="*/ 166 h 266"/>
                <a:gd name="T18" fmla="*/ 433 w 667"/>
                <a:gd name="T19" fmla="*/ 133 h 266"/>
                <a:gd name="T20" fmla="*/ 567 w 667"/>
                <a:gd name="T21" fmla="*/ 133 h 266"/>
                <a:gd name="T22" fmla="*/ 600 w 667"/>
                <a:gd name="T23" fmla="*/ 166 h 266"/>
                <a:gd name="T24" fmla="*/ 567 w 667"/>
                <a:gd name="T25" fmla="*/ 200 h 266"/>
                <a:gd name="T26" fmla="*/ 533 w 667"/>
                <a:gd name="T27" fmla="*/ 166 h 266"/>
                <a:gd name="T28" fmla="*/ 567 w 667"/>
                <a:gd name="T29" fmla="*/ 133 h 266"/>
                <a:gd name="T30" fmla="*/ 0 w 667"/>
                <a:gd name="T31" fmla="*/ 200 h 266"/>
                <a:gd name="T32" fmla="*/ 67 w 667"/>
                <a:gd name="T33" fmla="*/ 266 h 266"/>
                <a:gd name="T34" fmla="*/ 600 w 667"/>
                <a:gd name="T35" fmla="*/ 266 h 266"/>
                <a:gd name="T36" fmla="*/ 667 w 667"/>
                <a:gd name="T37" fmla="*/ 200 h 266"/>
                <a:gd name="T38" fmla="*/ 667 w 667"/>
                <a:gd name="T39" fmla="*/ 0 h 266"/>
                <a:gd name="T40" fmla="*/ 0 w 667"/>
                <a:gd name="T41" fmla="*/ 0 h 266"/>
                <a:gd name="T42" fmla="*/ 0 w 667"/>
                <a:gd name="T43" fmla="*/ 2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7" h="266">
                  <a:moveTo>
                    <a:pt x="300" y="133"/>
                  </a:moveTo>
                  <a:cubicBezTo>
                    <a:pt x="318" y="133"/>
                    <a:pt x="333" y="148"/>
                    <a:pt x="333" y="166"/>
                  </a:cubicBezTo>
                  <a:cubicBezTo>
                    <a:pt x="333" y="185"/>
                    <a:pt x="318" y="200"/>
                    <a:pt x="300" y="200"/>
                  </a:cubicBezTo>
                  <a:cubicBezTo>
                    <a:pt x="282" y="200"/>
                    <a:pt x="267" y="185"/>
                    <a:pt x="267" y="166"/>
                  </a:cubicBezTo>
                  <a:cubicBezTo>
                    <a:pt x="267" y="148"/>
                    <a:pt x="282" y="133"/>
                    <a:pt x="300" y="133"/>
                  </a:cubicBezTo>
                  <a:close/>
                  <a:moveTo>
                    <a:pt x="433" y="133"/>
                  </a:moveTo>
                  <a:cubicBezTo>
                    <a:pt x="452" y="133"/>
                    <a:pt x="467" y="148"/>
                    <a:pt x="467" y="166"/>
                  </a:cubicBezTo>
                  <a:cubicBezTo>
                    <a:pt x="467" y="185"/>
                    <a:pt x="452" y="200"/>
                    <a:pt x="433" y="200"/>
                  </a:cubicBezTo>
                  <a:cubicBezTo>
                    <a:pt x="415" y="200"/>
                    <a:pt x="400" y="185"/>
                    <a:pt x="400" y="166"/>
                  </a:cubicBezTo>
                  <a:cubicBezTo>
                    <a:pt x="400" y="148"/>
                    <a:pt x="415" y="133"/>
                    <a:pt x="433" y="133"/>
                  </a:cubicBezTo>
                  <a:close/>
                  <a:moveTo>
                    <a:pt x="567" y="133"/>
                  </a:moveTo>
                  <a:cubicBezTo>
                    <a:pt x="585" y="133"/>
                    <a:pt x="600" y="148"/>
                    <a:pt x="600" y="166"/>
                  </a:cubicBezTo>
                  <a:cubicBezTo>
                    <a:pt x="600" y="185"/>
                    <a:pt x="585" y="200"/>
                    <a:pt x="567" y="200"/>
                  </a:cubicBezTo>
                  <a:cubicBezTo>
                    <a:pt x="548" y="200"/>
                    <a:pt x="533" y="185"/>
                    <a:pt x="533" y="166"/>
                  </a:cubicBezTo>
                  <a:cubicBezTo>
                    <a:pt x="533" y="148"/>
                    <a:pt x="548" y="133"/>
                    <a:pt x="567" y="133"/>
                  </a:cubicBezTo>
                  <a:close/>
                  <a:moveTo>
                    <a:pt x="0" y="200"/>
                  </a:moveTo>
                  <a:cubicBezTo>
                    <a:pt x="0" y="236"/>
                    <a:pt x="30" y="266"/>
                    <a:pt x="67" y="266"/>
                  </a:cubicBezTo>
                  <a:lnTo>
                    <a:pt x="600" y="266"/>
                  </a:lnTo>
                  <a:cubicBezTo>
                    <a:pt x="637" y="266"/>
                    <a:pt x="667" y="236"/>
                    <a:pt x="667" y="200"/>
                  </a:cubicBezTo>
                  <a:lnTo>
                    <a:pt x="667" y="0"/>
                  </a:lnTo>
                  <a:lnTo>
                    <a:pt x="0" y="0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350">
              <a:extLst>
                <a:ext uri="{FF2B5EF4-FFF2-40B4-BE49-F238E27FC236}">
                  <a16:creationId xmlns:a16="http://schemas.microsoft.com/office/drawing/2014/main" id="{9E2D8813-6C5C-FFD3-35FF-C63065269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261"/>
              <a:ext cx="2648" cy="398"/>
            </a:xfrm>
            <a:custGeom>
              <a:avLst/>
              <a:gdLst>
                <a:gd name="T0" fmla="*/ 600 w 667"/>
                <a:gd name="T1" fmla="*/ 0 h 100"/>
                <a:gd name="T2" fmla="*/ 67 w 667"/>
                <a:gd name="T3" fmla="*/ 0 h 100"/>
                <a:gd name="T4" fmla="*/ 0 w 667"/>
                <a:gd name="T5" fmla="*/ 66 h 100"/>
                <a:gd name="T6" fmla="*/ 0 w 667"/>
                <a:gd name="T7" fmla="*/ 100 h 100"/>
                <a:gd name="T8" fmla="*/ 667 w 667"/>
                <a:gd name="T9" fmla="*/ 100 h 100"/>
                <a:gd name="T10" fmla="*/ 667 w 667"/>
                <a:gd name="T11" fmla="*/ 66 h 100"/>
                <a:gd name="T12" fmla="*/ 600 w 66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7" h="100">
                  <a:moveTo>
                    <a:pt x="600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100"/>
                  </a:lnTo>
                  <a:lnTo>
                    <a:pt x="667" y="100"/>
                  </a:lnTo>
                  <a:lnTo>
                    <a:pt x="667" y="66"/>
                  </a:lnTo>
                  <a:cubicBezTo>
                    <a:pt x="667" y="30"/>
                    <a:pt x="637" y="0"/>
                    <a:pt x="60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Browser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6097A8-DE4D-2CCF-C24C-5E5FD2CC56DF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595651" y="3899190"/>
            <a:ext cx="591202" cy="407907"/>
            <a:chOff x="5635625" y="5818188"/>
            <a:chExt cx="885826" cy="611188"/>
          </a:xfrm>
          <a:solidFill>
            <a:schemeClr val="accent1"/>
          </a:solidFill>
        </p:grpSpPr>
        <p:sp>
          <p:nvSpPr>
            <p:cNvPr id="69" name="Freeform 56">
              <a:extLst>
                <a:ext uri="{FF2B5EF4-FFF2-40B4-BE49-F238E27FC236}">
                  <a16:creationId xmlns:a16="http://schemas.microsoft.com/office/drawing/2014/main" id="{B3023DED-5E5B-6FF7-CB24-1DE1163E3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5625" y="6338888"/>
              <a:ext cx="725488" cy="90488"/>
            </a:xfrm>
            <a:custGeom>
              <a:avLst/>
              <a:gdLst>
                <a:gd name="T0" fmla="*/ 917 w 1021"/>
                <a:gd name="T1" fmla="*/ 93 h 127"/>
                <a:gd name="T2" fmla="*/ 888 w 1021"/>
                <a:gd name="T3" fmla="*/ 64 h 127"/>
                <a:gd name="T4" fmla="*/ 917 w 1021"/>
                <a:gd name="T5" fmla="*/ 34 h 127"/>
                <a:gd name="T6" fmla="*/ 947 w 1021"/>
                <a:gd name="T7" fmla="*/ 64 h 127"/>
                <a:gd name="T8" fmla="*/ 917 w 1021"/>
                <a:gd name="T9" fmla="*/ 93 h 127"/>
                <a:gd name="T10" fmla="*/ 988 w 1021"/>
                <a:gd name="T11" fmla="*/ 0 h 127"/>
                <a:gd name="T12" fmla="*/ 33 w 1021"/>
                <a:gd name="T13" fmla="*/ 0 h 127"/>
                <a:gd name="T14" fmla="*/ 0 w 1021"/>
                <a:gd name="T15" fmla="*/ 34 h 127"/>
                <a:gd name="T16" fmla="*/ 11 w 1021"/>
                <a:gd name="T17" fmla="*/ 93 h 127"/>
                <a:gd name="T18" fmla="*/ 45 w 1021"/>
                <a:gd name="T19" fmla="*/ 127 h 127"/>
                <a:gd name="T20" fmla="*/ 976 w 1021"/>
                <a:gd name="T21" fmla="*/ 127 h 127"/>
                <a:gd name="T22" fmla="*/ 1010 w 1021"/>
                <a:gd name="T23" fmla="*/ 93 h 127"/>
                <a:gd name="T24" fmla="*/ 1021 w 1021"/>
                <a:gd name="T25" fmla="*/ 34 h 127"/>
                <a:gd name="T26" fmla="*/ 988 w 1021"/>
                <a:gd name="T2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27">
                  <a:moveTo>
                    <a:pt x="917" y="93"/>
                  </a:moveTo>
                  <a:cubicBezTo>
                    <a:pt x="901" y="93"/>
                    <a:pt x="888" y="80"/>
                    <a:pt x="888" y="64"/>
                  </a:cubicBezTo>
                  <a:cubicBezTo>
                    <a:pt x="888" y="47"/>
                    <a:pt x="901" y="34"/>
                    <a:pt x="917" y="34"/>
                  </a:cubicBezTo>
                  <a:cubicBezTo>
                    <a:pt x="934" y="34"/>
                    <a:pt x="947" y="47"/>
                    <a:pt x="947" y="64"/>
                  </a:cubicBezTo>
                  <a:cubicBezTo>
                    <a:pt x="947" y="80"/>
                    <a:pt x="934" y="93"/>
                    <a:pt x="917" y="93"/>
                  </a:cubicBezTo>
                  <a:close/>
                  <a:moveTo>
                    <a:pt x="988" y="0"/>
                  </a:move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11" y="93"/>
                  </a:lnTo>
                  <a:cubicBezTo>
                    <a:pt x="17" y="112"/>
                    <a:pt x="26" y="127"/>
                    <a:pt x="45" y="127"/>
                  </a:cubicBezTo>
                  <a:lnTo>
                    <a:pt x="976" y="127"/>
                  </a:lnTo>
                  <a:cubicBezTo>
                    <a:pt x="995" y="127"/>
                    <a:pt x="1002" y="115"/>
                    <a:pt x="1010" y="93"/>
                  </a:cubicBezTo>
                  <a:lnTo>
                    <a:pt x="1021" y="34"/>
                  </a:lnTo>
                  <a:cubicBezTo>
                    <a:pt x="1021" y="15"/>
                    <a:pt x="1006" y="0"/>
                    <a:pt x="9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57">
              <a:extLst>
                <a:ext uri="{FF2B5EF4-FFF2-40B4-BE49-F238E27FC236}">
                  <a16:creationId xmlns:a16="http://schemas.microsoft.com/office/drawing/2014/main" id="{29E4B4C0-04D2-C6B0-E636-63288978A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63" y="5954713"/>
              <a:ext cx="417513" cy="349250"/>
            </a:xfrm>
            <a:custGeom>
              <a:avLst/>
              <a:gdLst>
                <a:gd name="T0" fmla="*/ 52 w 587"/>
                <a:gd name="T1" fmla="*/ 0 h 491"/>
                <a:gd name="T2" fmla="*/ 0 w 587"/>
                <a:gd name="T3" fmla="*/ 51 h 491"/>
                <a:gd name="T4" fmla="*/ 0 w 587"/>
                <a:gd name="T5" fmla="*/ 491 h 491"/>
                <a:gd name="T6" fmla="*/ 53 w 587"/>
                <a:gd name="T7" fmla="*/ 491 h 491"/>
                <a:gd name="T8" fmla="*/ 53 w 587"/>
                <a:gd name="T9" fmla="*/ 52 h 491"/>
                <a:gd name="T10" fmla="*/ 587 w 587"/>
                <a:gd name="T11" fmla="*/ 52 h 491"/>
                <a:gd name="T12" fmla="*/ 586 w 587"/>
                <a:gd name="T13" fmla="*/ 0 h 491"/>
                <a:gd name="T14" fmla="*/ 52 w 587"/>
                <a:gd name="T15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491">
                  <a:moveTo>
                    <a:pt x="52" y="0"/>
                  </a:moveTo>
                  <a:cubicBezTo>
                    <a:pt x="23" y="0"/>
                    <a:pt x="0" y="23"/>
                    <a:pt x="0" y="51"/>
                  </a:cubicBezTo>
                  <a:lnTo>
                    <a:pt x="0" y="491"/>
                  </a:lnTo>
                  <a:lnTo>
                    <a:pt x="53" y="491"/>
                  </a:lnTo>
                  <a:lnTo>
                    <a:pt x="53" y="52"/>
                  </a:lnTo>
                  <a:lnTo>
                    <a:pt x="587" y="52"/>
                  </a:lnTo>
                  <a:cubicBezTo>
                    <a:pt x="584" y="34"/>
                    <a:pt x="585" y="10"/>
                    <a:pt x="586" y="0"/>
                  </a:cubicBezTo>
                  <a:lnTo>
                    <a:pt x="52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58">
              <a:extLst>
                <a:ext uri="{FF2B5EF4-FFF2-40B4-BE49-F238E27FC236}">
                  <a16:creationId xmlns:a16="http://schemas.microsoft.com/office/drawing/2014/main" id="{7B6EA440-7BA3-460B-9D0C-6EBFC11BC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6149975"/>
              <a:ext cx="38100" cy="153988"/>
            </a:xfrm>
            <a:custGeom>
              <a:avLst/>
              <a:gdLst>
                <a:gd name="T0" fmla="*/ 0 w 53"/>
                <a:gd name="T1" fmla="*/ 4 h 216"/>
                <a:gd name="T2" fmla="*/ 0 w 53"/>
                <a:gd name="T3" fmla="*/ 216 h 216"/>
                <a:gd name="T4" fmla="*/ 53 w 53"/>
                <a:gd name="T5" fmla="*/ 216 h 216"/>
                <a:gd name="T6" fmla="*/ 53 w 53"/>
                <a:gd name="T7" fmla="*/ 0 h 216"/>
                <a:gd name="T8" fmla="*/ 0 w 53"/>
                <a:gd name="T9" fmla="*/ 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16">
                  <a:moveTo>
                    <a:pt x="0" y="4"/>
                  </a:moveTo>
                  <a:lnTo>
                    <a:pt x="0" y="216"/>
                  </a:lnTo>
                  <a:lnTo>
                    <a:pt x="53" y="216"/>
                  </a:lnTo>
                  <a:lnTo>
                    <a:pt x="53" y="0"/>
                  </a:lnTo>
                  <a:cubicBezTo>
                    <a:pt x="34" y="4"/>
                    <a:pt x="9" y="5"/>
                    <a:pt x="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59">
              <a:extLst>
                <a:ext uri="{FF2B5EF4-FFF2-40B4-BE49-F238E27FC236}">
                  <a16:creationId xmlns:a16="http://schemas.microsoft.com/office/drawing/2014/main" id="{9E7BF437-D6BC-A353-33EC-F3CDFF05B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156325"/>
              <a:ext cx="68263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Rectangle 60">
              <a:extLst>
                <a:ext uri="{FF2B5EF4-FFF2-40B4-BE49-F238E27FC236}">
                  <a16:creationId xmlns:a16="http://schemas.microsoft.com/office/drawing/2014/main" id="{AF953055-2FDD-387E-B4A3-49F585922E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156325"/>
              <a:ext cx="311150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61">
              <a:extLst>
                <a:ext uri="{FF2B5EF4-FFF2-40B4-BE49-F238E27FC236}">
                  <a16:creationId xmlns:a16="http://schemas.microsoft.com/office/drawing/2014/main" id="{4642DB6B-2EDF-101A-80E2-04706EAD5D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5" y="6040438"/>
              <a:ext cx="382588" cy="69850"/>
            </a:xfrm>
            <a:custGeom>
              <a:avLst/>
              <a:gdLst>
                <a:gd name="T0" fmla="*/ 125 w 539"/>
                <a:gd name="T1" fmla="*/ 67 h 97"/>
                <a:gd name="T2" fmla="*/ 30 w 539"/>
                <a:gd name="T3" fmla="*/ 67 h 97"/>
                <a:gd name="T4" fmla="*/ 30 w 539"/>
                <a:gd name="T5" fmla="*/ 33 h 97"/>
                <a:gd name="T6" fmla="*/ 125 w 539"/>
                <a:gd name="T7" fmla="*/ 33 h 97"/>
                <a:gd name="T8" fmla="*/ 125 w 539"/>
                <a:gd name="T9" fmla="*/ 67 h 97"/>
                <a:gd name="T10" fmla="*/ 484 w 539"/>
                <a:gd name="T11" fmla="*/ 33 h 97"/>
                <a:gd name="T12" fmla="*/ 466 w 539"/>
                <a:gd name="T13" fmla="*/ 0 h 97"/>
                <a:gd name="T14" fmla="*/ 0 w 539"/>
                <a:gd name="T15" fmla="*/ 0 h 97"/>
                <a:gd name="T16" fmla="*/ 0 w 539"/>
                <a:gd name="T17" fmla="*/ 97 h 97"/>
                <a:gd name="T18" fmla="*/ 539 w 539"/>
                <a:gd name="T19" fmla="*/ 97 h 97"/>
                <a:gd name="T20" fmla="*/ 509 w 539"/>
                <a:gd name="T21" fmla="*/ 67 h 97"/>
                <a:gd name="T22" fmla="*/ 173 w 539"/>
                <a:gd name="T23" fmla="*/ 67 h 97"/>
                <a:gd name="T24" fmla="*/ 173 w 539"/>
                <a:gd name="T25" fmla="*/ 33 h 97"/>
                <a:gd name="T26" fmla="*/ 484 w 539"/>
                <a:gd name="T27" fmla="*/ 3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9" h="97">
                  <a:moveTo>
                    <a:pt x="125" y="67"/>
                  </a:moveTo>
                  <a:lnTo>
                    <a:pt x="30" y="67"/>
                  </a:lnTo>
                  <a:lnTo>
                    <a:pt x="30" y="33"/>
                  </a:lnTo>
                  <a:lnTo>
                    <a:pt x="125" y="33"/>
                  </a:lnTo>
                  <a:lnTo>
                    <a:pt x="125" y="67"/>
                  </a:lnTo>
                  <a:close/>
                  <a:moveTo>
                    <a:pt x="484" y="33"/>
                  </a:moveTo>
                  <a:cubicBezTo>
                    <a:pt x="477" y="22"/>
                    <a:pt x="471" y="11"/>
                    <a:pt x="466" y="0"/>
                  </a:cubicBezTo>
                  <a:lnTo>
                    <a:pt x="0" y="0"/>
                  </a:lnTo>
                  <a:lnTo>
                    <a:pt x="0" y="97"/>
                  </a:lnTo>
                  <a:lnTo>
                    <a:pt x="539" y="97"/>
                  </a:lnTo>
                  <a:cubicBezTo>
                    <a:pt x="528" y="88"/>
                    <a:pt x="518" y="78"/>
                    <a:pt x="509" y="67"/>
                  </a:cubicBezTo>
                  <a:lnTo>
                    <a:pt x="173" y="67"/>
                  </a:lnTo>
                  <a:lnTo>
                    <a:pt x="173" y="33"/>
                  </a:lnTo>
                  <a:lnTo>
                    <a:pt x="484" y="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62">
              <a:extLst>
                <a:ext uri="{FF2B5EF4-FFF2-40B4-BE49-F238E27FC236}">
                  <a16:creationId xmlns:a16="http://schemas.microsoft.com/office/drawing/2014/main" id="{A281DB59-8B65-E8E7-12AC-427D93E246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234113"/>
              <a:ext cx="68263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63">
              <a:extLst>
                <a:ext uri="{FF2B5EF4-FFF2-40B4-BE49-F238E27FC236}">
                  <a16:creationId xmlns:a16="http://schemas.microsoft.com/office/drawing/2014/main" id="{34660E8A-64D9-D33B-A107-2F76912E6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234113"/>
              <a:ext cx="311150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64">
              <a:extLst>
                <a:ext uri="{FF2B5EF4-FFF2-40B4-BE49-F238E27FC236}">
                  <a16:creationId xmlns:a16="http://schemas.microsoft.com/office/drawing/2014/main" id="{5BC936B0-B4AA-3888-4E38-CBEACA099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2513" y="5818188"/>
              <a:ext cx="388938" cy="388938"/>
            </a:xfrm>
            <a:custGeom>
              <a:avLst/>
              <a:gdLst>
                <a:gd name="T0" fmla="*/ 211 w 547"/>
                <a:gd name="T1" fmla="*/ 365 h 547"/>
                <a:gd name="T2" fmla="*/ 58 w 547"/>
                <a:gd name="T3" fmla="*/ 211 h 547"/>
                <a:gd name="T4" fmla="*/ 211 w 547"/>
                <a:gd name="T5" fmla="*/ 58 h 547"/>
                <a:gd name="T6" fmla="*/ 365 w 547"/>
                <a:gd name="T7" fmla="*/ 211 h 547"/>
                <a:gd name="T8" fmla="*/ 211 w 547"/>
                <a:gd name="T9" fmla="*/ 365 h 547"/>
                <a:gd name="T10" fmla="*/ 396 w 547"/>
                <a:gd name="T11" fmla="*/ 315 h 547"/>
                <a:gd name="T12" fmla="*/ 423 w 547"/>
                <a:gd name="T13" fmla="*/ 211 h 547"/>
                <a:gd name="T14" fmla="*/ 211 w 547"/>
                <a:gd name="T15" fmla="*/ 0 h 547"/>
                <a:gd name="T16" fmla="*/ 0 w 547"/>
                <a:gd name="T17" fmla="*/ 211 h 547"/>
                <a:gd name="T18" fmla="*/ 211 w 547"/>
                <a:gd name="T19" fmla="*/ 423 h 547"/>
                <a:gd name="T20" fmla="*/ 315 w 547"/>
                <a:gd name="T21" fmla="*/ 396 h 547"/>
                <a:gd name="T22" fmla="*/ 418 w 547"/>
                <a:gd name="T23" fmla="*/ 514 h 547"/>
                <a:gd name="T24" fmla="*/ 519 w 547"/>
                <a:gd name="T25" fmla="*/ 517 h 547"/>
                <a:gd name="T26" fmla="*/ 515 w 547"/>
                <a:gd name="T27" fmla="*/ 417 h 547"/>
                <a:gd name="T28" fmla="*/ 396 w 547"/>
                <a:gd name="T29" fmla="*/ 31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7" h="547">
                  <a:moveTo>
                    <a:pt x="211" y="365"/>
                  </a:moveTo>
                  <a:cubicBezTo>
                    <a:pt x="127" y="365"/>
                    <a:pt x="58" y="296"/>
                    <a:pt x="58" y="211"/>
                  </a:cubicBezTo>
                  <a:cubicBezTo>
                    <a:pt x="58" y="127"/>
                    <a:pt x="127" y="58"/>
                    <a:pt x="211" y="58"/>
                  </a:cubicBezTo>
                  <a:cubicBezTo>
                    <a:pt x="296" y="58"/>
                    <a:pt x="365" y="127"/>
                    <a:pt x="365" y="211"/>
                  </a:cubicBezTo>
                  <a:cubicBezTo>
                    <a:pt x="365" y="296"/>
                    <a:pt x="296" y="365"/>
                    <a:pt x="211" y="365"/>
                  </a:cubicBezTo>
                  <a:close/>
                  <a:moveTo>
                    <a:pt x="396" y="315"/>
                  </a:moveTo>
                  <a:cubicBezTo>
                    <a:pt x="413" y="284"/>
                    <a:pt x="423" y="249"/>
                    <a:pt x="423" y="211"/>
                  </a:cubicBezTo>
                  <a:cubicBezTo>
                    <a:pt x="423" y="95"/>
                    <a:pt x="328" y="0"/>
                    <a:pt x="211" y="0"/>
                  </a:cubicBezTo>
                  <a:cubicBezTo>
                    <a:pt x="95" y="0"/>
                    <a:pt x="0" y="95"/>
                    <a:pt x="0" y="211"/>
                  </a:cubicBezTo>
                  <a:cubicBezTo>
                    <a:pt x="0" y="328"/>
                    <a:pt x="95" y="423"/>
                    <a:pt x="211" y="423"/>
                  </a:cubicBezTo>
                  <a:cubicBezTo>
                    <a:pt x="249" y="423"/>
                    <a:pt x="284" y="413"/>
                    <a:pt x="315" y="396"/>
                  </a:cubicBezTo>
                  <a:lnTo>
                    <a:pt x="418" y="514"/>
                  </a:lnTo>
                  <a:cubicBezTo>
                    <a:pt x="445" y="545"/>
                    <a:pt x="489" y="547"/>
                    <a:pt x="519" y="517"/>
                  </a:cubicBezTo>
                  <a:cubicBezTo>
                    <a:pt x="546" y="490"/>
                    <a:pt x="547" y="444"/>
                    <a:pt x="515" y="417"/>
                  </a:cubicBezTo>
                  <a:lnTo>
                    <a:pt x="396" y="31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8" name="Compute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3A70656-F23C-2ED5-4570-F2BDCC7E9211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3649187" y="5521262"/>
            <a:ext cx="505669" cy="337114"/>
          </a:xfrm>
          <a:custGeom>
            <a:avLst/>
            <a:gdLst>
              <a:gd name="T0" fmla="*/ 528 w 636"/>
              <a:gd name="T1" fmla="*/ 371 h 423"/>
              <a:gd name="T2" fmla="*/ 584 w 636"/>
              <a:gd name="T3" fmla="*/ 315 h 423"/>
              <a:gd name="T4" fmla="*/ 584 w 636"/>
              <a:gd name="T5" fmla="*/ 51 h 423"/>
              <a:gd name="T6" fmla="*/ 528 w 636"/>
              <a:gd name="T7" fmla="*/ 0 h 423"/>
              <a:gd name="T8" fmla="*/ 107 w 636"/>
              <a:gd name="T9" fmla="*/ 0 h 423"/>
              <a:gd name="T10" fmla="*/ 51 w 636"/>
              <a:gd name="T11" fmla="*/ 51 h 423"/>
              <a:gd name="T12" fmla="*/ 51 w 636"/>
              <a:gd name="T13" fmla="*/ 315 h 423"/>
              <a:gd name="T14" fmla="*/ 107 w 636"/>
              <a:gd name="T15" fmla="*/ 371 h 423"/>
              <a:gd name="T16" fmla="*/ 0 w 636"/>
              <a:gd name="T17" fmla="*/ 371 h 423"/>
              <a:gd name="T18" fmla="*/ 0 w 636"/>
              <a:gd name="T19" fmla="*/ 422 h 423"/>
              <a:gd name="T20" fmla="*/ 635 w 636"/>
              <a:gd name="T21" fmla="*/ 422 h 423"/>
              <a:gd name="T22" fmla="*/ 635 w 636"/>
              <a:gd name="T23" fmla="*/ 371 h 423"/>
              <a:gd name="T24" fmla="*/ 528 w 636"/>
              <a:gd name="T25" fmla="*/ 371 h 423"/>
              <a:gd name="T26" fmla="*/ 107 w 636"/>
              <a:gd name="T27" fmla="*/ 51 h 423"/>
              <a:gd name="T28" fmla="*/ 528 w 636"/>
              <a:gd name="T29" fmla="*/ 51 h 423"/>
              <a:gd name="T30" fmla="*/ 528 w 636"/>
              <a:gd name="T31" fmla="*/ 315 h 423"/>
              <a:gd name="T32" fmla="*/ 107 w 636"/>
              <a:gd name="T33" fmla="*/ 315 h 423"/>
              <a:gd name="T34" fmla="*/ 107 w 636"/>
              <a:gd name="T35" fmla="*/ 5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36" h="423">
                <a:moveTo>
                  <a:pt x="528" y="371"/>
                </a:moveTo>
                <a:cubicBezTo>
                  <a:pt x="559" y="371"/>
                  <a:pt x="584" y="346"/>
                  <a:pt x="584" y="315"/>
                </a:cubicBezTo>
                <a:lnTo>
                  <a:pt x="584" y="51"/>
                </a:lnTo>
                <a:cubicBezTo>
                  <a:pt x="584" y="21"/>
                  <a:pt x="559" y="0"/>
                  <a:pt x="528" y="0"/>
                </a:cubicBezTo>
                <a:lnTo>
                  <a:pt x="107" y="0"/>
                </a:lnTo>
                <a:cubicBezTo>
                  <a:pt x="76" y="0"/>
                  <a:pt x="51" y="21"/>
                  <a:pt x="51" y="51"/>
                </a:cubicBezTo>
                <a:lnTo>
                  <a:pt x="51" y="315"/>
                </a:lnTo>
                <a:cubicBezTo>
                  <a:pt x="51" y="346"/>
                  <a:pt x="76" y="371"/>
                  <a:pt x="107" y="371"/>
                </a:cubicBezTo>
                <a:lnTo>
                  <a:pt x="0" y="371"/>
                </a:lnTo>
                <a:lnTo>
                  <a:pt x="0" y="422"/>
                </a:lnTo>
                <a:lnTo>
                  <a:pt x="635" y="422"/>
                </a:lnTo>
                <a:lnTo>
                  <a:pt x="635" y="371"/>
                </a:lnTo>
                <a:lnTo>
                  <a:pt x="528" y="371"/>
                </a:lnTo>
                <a:close/>
                <a:moveTo>
                  <a:pt x="107" y="51"/>
                </a:moveTo>
                <a:lnTo>
                  <a:pt x="528" y="51"/>
                </a:lnTo>
                <a:lnTo>
                  <a:pt x="528" y="315"/>
                </a:lnTo>
                <a:lnTo>
                  <a:pt x="107" y="315"/>
                </a:lnTo>
                <a:lnTo>
                  <a:pt x="107" y="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Sho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9B7DD9-BE83-E2E9-BD07-C8AF22CA05FE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3956601" y="3387571"/>
            <a:ext cx="421042" cy="370825"/>
          </a:xfrm>
          <a:custGeom>
            <a:avLst/>
            <a:gdLst>
              <a:gd name="T0" fmla="*/ 454 w 481"/>
              <a:gd name="T1" fmla="*/ 0 h 425"/>
              <a:gd name="T2" fmla="*/ 30 w 481"/>
              <a:gd name="T3" fmla="*/ 0 h 425"/>
              <a:gd name="T4" fmla="*/ 30 w 481"/>
              <a:gd name="T5" fmla="*/ 51 h 425"/>
              <a:gd name="T6" fmla="*/ 454 w 481"/>
              <a:gd name="T7" fmla="*/ 51 h 425"/>
              <a:gd name="T8" fmla="*/ 454 w 481"/>
              <a:gd name="T9" fmla="*/ 0 h 425"/>
              <a:gd name="T10" fmla="*/ 480 w 481"/>
              <a:gd name="T11" fmla="*/ 266 h 425"/>
              <a:gd name="T12" fmla="*/ 480 w 481"/>
              <a:gd name="T13" fmla="*/ 209 h 425"/>
              <a:gd name="T14" fmla="*/ 454 w 481"/>
              <a:gd name="T15" fmla="*/ 76 h 425"/>
              <a:gd name="T16" fmla="*/ 30 w 481"/>
              <a:gd name="T17" fmla="*/ 76 h 425"/>
              <a:gd name="T18" fmla="*/ 0 w 481"/>
              <a:gd name="T19" fmla="*/ 209 h 425"/>
              <a:gd name="T20" fmla="*/ 0 w 481"/>
              <a:gd name="T21" fmla="*/ 266 h 425"/>
              <a:gd name="T22" fmla="*/ 30 w 481"/>
              <a:gd name="T23" fmla="*/ 266 h 425"/>
              <a:gd name="T24" fmla="*/ 30 w 481"/>
              <a:gd name="T25" fmla="*/ 424 h 425"/>
              <a:gd name="T26" fmla="*/ 296 w 481"/>
              <a:gd name="T27" fmla="*/ 424 h 425"/>
              <a:gd name="T28" fmla="*/ 296 w 481"/>
              <a:gd name="T29" fmla="*/ 266 h 425"/>
              <a:gd name="T30" fmla="*/ 403 w 481"/>
              <a:gd name="T31" fmla="*/ 266 h 425"/>
              <a:gd name="T32" fmla="*/ 403 w 481"/>
              <a:gd name="T33" fmla="*/ 424 h 425"/>
              <a:gd name="T34" fmla="*/ 454 w 481"/>
              <a:gd name="T35" fmla="*/ 424 h 425"/>
              <a:gd name="T36" fmla="*/ 454 w 481"/>
              <a:gd name="T37" fmla="*/ 266 h 425"/>
              <a:gd name="T38" fmla="*/ 480 w 481"/>
              <a:gd name="T39" fmla="*/ 266 h 425"/>
              <a:gd name="T40" fmla="*/ 240 w 481"/>
              <a:gd name="T41" fmla="*/ 373 h 425"/>
              <a:gd name="T42" fmla="*/ 81 w 481"/>
              <a:gd name="T43" fmla="*/ 373 h 425"/>
              <a:gd name="T44" fmla="*/ 81 w 481"/>
              <a:gd name="T45" fmla="*/ 266 h 425"/>
              <a:gd name="T46" fmla="*/ 240 w 481"/>
              <a:gd name="T47" fmla="*/ 266 h 425"/>
              <a:gd name="T48" fmla="*/ 240 w 481"/>
              <a:gd name="T49" fmla="*/ 373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81" h="425">
                <a:moveTo>
                  <a:pt x="454" y="0"/>
                </a:moveTo>
                <a:lnTo>
                  <a:pt x="30" y="0"/>
                </a:lnTo>
                <a:lnTo>
                  <a:pt x="30" y="51"/>
                </a:lnTo>
                <a:lnTo>
                  <a:pt x="454" y="51"/>
                </a:lnTo>
                <a:lnTo>
                  <a:pt x="454" y="0"/>
                </a:lnTo>
                <a:close/>
                <a:moveTo>
                  <a:pt x="480" y="266"/>
                </a:moveTo>
                <a:lnTo>
                  <a:pt x="480" y="209"/>
                </a:lnTo>
                <a:lnTo>
                  <a:pt x="454" y="76"/>
                </a:lnTo>
                <a:lnTo>
                  <a:pt x="30" y="76"/>
                </a:lnTo>
                <a:lnTo>
                  <a:pt x="0" y="209"/>
                </a:lnTo>
                <a:lnTo>
                  <a:pt x="0" y="266"/>
                </a:lnTo>
                <a:lnTo>
                  <a:pt x="30" y="266"/>
                </a:lnTo>
                <a:lnTo>
                  <a:pt x="30" y="424"/>
                </a:lnTo>
                <a:lnTo>
                  <a:pt x="296" y="424"/>
                </a:lnTo>
                <a:lnTo>
                  <a:pt x="296" y="266"/>
                </a:lnTo>
                <a:lnTo>
                  <a:pt x="403" y="266"/>
                </a:lnTo>
                <a:lnTo>
                  <a:pt x="403" y="424"/>
                </a:lnTo>
                <a:lnTo>
                  <a:pt x="454" y="424"/>
                </a:lnTo>
                <a:lnTo>
                  <a:pt x="454" y="266"/>
                </a:lnTo>
                <a:lnTo>
                  <a:pt x="480" y="266"/>
                </a:lnTo>
                <a:close/>
                <a:moveTo>
                  <a:pt x="240" y="373"/>
                </a:moveTo>
                <a:lnTo>
                  <a:pt x="81" y="373"/>
                </a:lnTo>
                <a:lnTo>
                  <a:pt x="81" y="266"/>
                </a:lnTo>
                <a:lnTo>
                  <a:pt x="240" y="266"/>
                </a:lnTo>
                <a:lnTo>
                  <a:pt x="240" y="3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Bar_cod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E50EE16-6419-263F-45F0-BBD717814C47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2913363" y="3421046"/>
            <a:ext cx="370807" cy="278606"/>
          </a:xfrm>
          <a:custGeom>
            <a:avLst/>
            <a:gdLst>
              <a:gd name="T0" fmla="*/ 25 w 200"/>
              <a:gd name="T1" fmla="*/ 0 h 150"/>
              <a:gd name="T2" fmla="*/ 0 w 200"/>
              <a:gd name="T3" fmla="*/ 125 h 150"/>
              <a:gd name="T4" fmla="*/ 38 w 200"/>
              <a:gd name="T5" fmla="*/ 0 h 150"/>
              <a:gd name="T6" fmla="*/ 50 w 200"/>
              <a:gd name="T7" fmla="*/ 125 h 150"/>
              <a:gd name="T8" fmla="*/ 38 w 200"/>
              <a:gd name="T9" fmla="*/ 0 h 150"/>
              <a:gd name="T10" fmla="*/ 75 w 200"/>
              <a:gd name="T11" fmla="*/ 0 h 150"/>
              <a:gd name="T12" fmla="*/ 63 w 200"/>
              <a:gd name="T13" fmla="*/ 125 h 150"/>
              <a:gd name="T14" fmla="*/ 100 w 200"/>
              <a:gd name="T15" fmla="*/ 0 h 150"/>
              <a:gd name="T16" fmla="*/ 113 w 200"/>
              <a:gd name="T17" fmla="*/ 125 h 150"/>
              <a:gd name="T18" fmla="*/ 100 w 200"/>
              <a:gd name="T19" fmla="*/ 0 h 150"/>
              <a:gd name="T20" fmla="*/ 163 w 200"/>
              <a:gd name="T21" fmla="*/ 0 h 150"/>
              <a:gd name="T22" fmla="*/ 150 w 200"/>
              <a:gd name="T23" fmla="*/ 125 h 150"/>
              <a:gd name="T24" fmla="*/ 188 w 200"/>
              <a:gd name="T25" fmla="*/ 0 h 150"/>
              <a:gd name="T26" fmla="*/ 200 w 200"/>
              <a:gd name="T27" fmla="*/ 125 h 150"/>
              <a:gd name="T28" fmla="*/ 188 w 200"/>
              <a:gd name="T29" fmla="*/ 0 h 150"/>
              <a:gd name="T30" fmla="*/ 131 w 200"/>
              <a:gd name="T31" fmla="*/ 0 h 150"/>
              <a:gd name="T32" fmla="*/ 125 w 200"/>
              <a:gd name="T33" fmla="*/ 125 h 150"/>
              <a:gd name="T34" fmla="*/ 88 w 200"/>
              <a:gd name="T35" fmla="*/ 0 h 150"/>
              <a:gd name="T36" fmla="*/ 94 w 200"/>
              <a:gd name="T37" fmla="*/ 125 h 150"/>
              <a:gd name="T38" fmla="*/ 88 w 200"/>
              <a:gd name="T39" fmla="*/ 0 h 150"/>
              <a:gd name="T40" fmla="*/ 175 w 200"/>
              <a:gd name="T41" fmla="*/ 0 h 150"/>
              <a:gd name="T42" fmla="*/ 169 w 200"/>
              <a:gd name="T43" fmla="*/ 125 h 150"/>
              <a:gd name="T44" fmla="*/ 0 w 200"/>
              <a:gd name="T45" fmla="*/ 138 h 150"/>
              <a:gd name="T46" fmla="*/ 13 w 200"/>
              <a:gd name="T47" fmla="*/ 150 h 150"/>
              <a:gd name="T48" fmla="*/ 0 w 200"/>
              <a:gd name="T49" fmla="*/ 138 h 150"/>
              <a:gd name="T50" fmla="*/ 50 w 200"/>
              <a:gd name="T51" fmla="*/ 138 h 150"/>
              <a:gd name="T52" fmla="*/ 38 w 200"/>
              <a:gd name="T53" fmla="*/ 150 h 150"/>
              <a:gd name="T54" fmla="*/ 63 w 200"/>
              <a:gd name="T55" fmla="*/ 138 h 150"/>
              <a:gd name="T56" fmla="*/ 75 w 200"/>
              <a:gd name="T57" fmla="*/ 150 h 150"/>
              <a:gd name="T58" fmla="*/ 63 w 200"/>
              <a:gd name="T59" fmla="*/ 138 h 150"/>
              <a:gd name="T60" fmla="*/ 138 w 200"/>
              <a:gd name="T61" fmla="*/ 138 h 150"/>
              <a:gd name="T62" fmla="*/ 125 w 200"/>
              <a:gd name="T63" fmla="*/ 150 h 150"/>
              <a:gd name="T64" fmla="*/ 188 w 200"/>
              <a:gd name="T65" fmla="*/ 138 h 150"/>
              <a:gd name="T66" fmla="*/ 200 w 200"/>
              <a:gd name="T67" fmla="*/ 150 h 150"/>
              <a:gd name="T68" fmla="*/ 188 w 200"/>
              <a:gd name="T69" fmla="*/ 138 h 150"/>
              <a:gd name="T70" fmla="*/ 175 w 200"/>
              <a:gd name="T71" fmla="*/ 138 h 150"/>
              <a:gd name="T72" fmla="*/ 150 w 200"/>
              <a:gd name="T73" fmla="*/ 150 h 150"/>
              <a:gd name="T74" fmla="*/ 88 w 200"/>
              <a:gd name="T75" fmla="*/ 138 h 150"/>
              <a:gd name="T76" fmla="*/ 113 w 200"/>
              <a:gd name="T77" fmla="*/ 150 h 150"/>
              <a:gd name="T78" fmla="*/ 88 w 200"/>
              <a:gd name="T79" fmla="*/ 13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0" h="150">
                <a:moveTo>
                  <a:pt x="0" y="0"/>
                </a:moveTo>
                <a:lnTo>
                  <a:pt x="25" y="0"/>
                </a:lnTo>
                <a:lnTo>
                  <a:pt x="25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38" y="0"/>
                </a:moveTo>
                <a:lnTo>
                  <a:pt x="50" y="0"/>
                </a:lnTo>
                <a:lnTo>
                  <a:pt x="50" y="125"/>
                </a:lnTo>
                <a:lnTo>
                  <a:pt x="38" y="125"/>
                </a:lnTo>
                <a:lnTo>
                  <a:pt x="38" y="0"/>
                </a:lnTo>
                <a:close/>
                <a:moveTo>
                  <a:pt x="63" y="0"/>
                </a:moveTo>
                <a:lnTo>
                  <a:pt x="75" y="0"/>
                </a:lnTo>
                <a:lnTo>
                  <a:pt x="75" y="125"/>
                </a:lnTo>
                <a:lnTo>
                  <a:pt x="63" y="125"/>
                </a:lnTo>
                <a:lnTo>
                  <a:pt x="63" y="0"/>
                </a:lnTo>
                <a:close/>
                <a:moveTo>
                  <a:pt x="100" y="0"/>
                </a:moveTo>
                <a:lnTo>
                  <a:pt x="113" y="0"/>
                </a:lnTo>
                <a:lnTo>
                  <a:pt x="113" y="125"/>
                </a:lnTo>
                <a:lnTo>
                  <a:pt x="100" y="125"/>
                </a:lnTo>
                <a:lnTo>
                  <a:pt x="100" y="0"/>
                </a:lnTo>
                <a:close/>
                <a:moveTo>
                  <a:pt x="150" y="0"/>
                </a:moveTo>
                <a:lnTo>
                  <a:pt x="163" y="0"/>
                </a:lnTo>
                <a:lnTo>
                  <a:pt x="163" y="125"/>
                </a:lnTo>
                <a:lnTo>
                  <a:pt x="150" y="125"/>
                </a:lnTo>
                <a:lnTo>
                  <a:pt x="150" y="0"/>
                </a:lnTo>
                <a:close/>
                <a:moveTo>
                  <a:pt x="188" y="0"/>
                </a:moveTo>
                <a:lnTo>
                  <a:pt x="200" y="0"/>
                </a:lnTo>
                <a:lnTo>
                  <a:pt x="200" y="125"/>
                </a:lnTo>
                <a:lnTo>
                  <a:pt x="188" y="125"/>
                </a:lnTo>
                <a:lnTo>
                  <a:pt x="188" y="0"/>
                </a:lnTo>
                <a:close/>
                <a:moveTo>
                  <a:pt x="125" y="0"/>
                </a:moveTo>
                <a:lnTo>
                  <a:pt x="131" y="0"/>
                </a:lnTo>
                <a:lnTo>
                  <a:pt x="131" y="125"/>
                </a:lnTo>
                <a:lnTo>
                  <a:pt x="125" y="125"/>
                </a:lnTo>
                <a:lnTo>
                  <a:pt x="125" y="0"/>
                </a:lnTo>
                <a:close/>
                <a:moveTo>
                  <a:pt x="88" y="0"/>
                </a:moveTo>
                <a:lnTo>
                  <a:pt x="94" y="0"/>
                </a:lnTo>
                <a:lnTo>
                  <a:pt x="94" y="125"/>
                </a:lnTo>
                <a:lnTo>
                  <a:pt x="88" y="125"/>
                </a:lnTo>
                <a:lnTo>
                  <a:pt x="88" y="0"/>
                </a:lnTo>
                <a:close/>
                <a:moveTo>
                  <a:pt x="169" y="0"/>
                </a:moveTo>
                <a:lnTo>
                  <a:pt x="175" y="0"/>
                </a:lnTo>
                <a:lnTo>
                  <a:pt x="175" y="125"/>
                </a:lnTo>
                <a:lnTo>
                  <a:pt x="169" y="125"/>
                </a:lnTo>
                <a:lnTo>
                  <a:pt x="169" y="0"/>
                </a:lnTo>
                <a:close/>
                <a:moveTo>
                  <a:pt x="0" y="138"/>
                </a:moveTo>
                <a:lnTo>
                  <a:pt x="13" y="138"/>
                </a:lnTo>
                <a:lnTo>
                  <a:pt x="13" y="150"/>
                </a:lnTo>
                <a:lnTo>
                  <a:pt x="0" y="150"/>
                </a:lnTo>
                <a:lnTo>
                  <a:pt x="0" y="138"/>
                </a:lnTo>
                <a:close/>
                <a:moveTo>
                  <a:pt x="38" y="138"/>
                </a:moveTo>
                <a:lnTo>
                  <a:pt x="50" y="138"/>
                </a:lnTo>
                <a:lnTo>
                  <a:pt x="50" y="150"/>
                </a:lnTo>
                <a:lnTo>
                  <a:pt x="38" y="150"/>
                </a:lnTo>
                <a:lnTo>
                  <a:pt x="38" y="138"/>
                </a:lnTo>
                <a:close/>
                <a:moveTo>
                  <a:pt x="63" y="138"/>
                </a:moveTo>
                <a:lnTo>
                  <a:pt x="75" y="138"/>
                </a:lnTo>
                <a:lnTo>
                  <a:pt x="75" y="150"/>
                </a:lnTo>
                <a:lnTo>
                  <a:pt x="63" y="150"/>
                </a:lnTo>
                <a:lnTo>
                  <a:pt x="63" y="138"/>
                </a:lnTo>
                <a:close/>
                <a:moveTo>
                  <a:pt x="125" y="138"/>
                </a:moveTo>
                <a:lnTo>
                  <a:pt x="138" y="138"/>
                </a:lnTo>
                <a:lnTo>
                  <a:pt x="138" y="150"/>
                </a:lnTo>
                <a:lnTo>
                  <a:pt x="125" y="150"/>
                </a:lnTo>
                <a:lnTo>
                  <a:pt x="125" y="138"/>
                </a:lnTo>
                <a:close/>
                <a:moveTo>
                  <a:pt x="188" y="138"/>
                </a:moveTo>
                <a:lnTo>
                  <a:pt x="200" y="138"/>
                </a:lnTo>
                <a:lnTo>
                  <a:pt x="200" y="150"/>
                </a:lnTo>
                <a:lnTo>
                  <a:pt x="188" y="150"/>
                </a:lnTo>
                <a:lnTo>
                  <a:pt x="188" y="138"/>
                </a:lnTo>
                <a:close/>
                <a:moveTo>
                  <a:pt x="150" y="138"/>
                </a:moveTo>
                <a:lnTo>
                  <a:pt x="175" y="138"/>
                </a:lnTo>
                <a:lnTo>
                  <a:pt x="175" y="150"/>
                </a:lnTo>
                <a:lnTo>
                  <a:pt x="150" y="150"/>
                </a:lnTo>
                <a:lnTo>
                  <a:pt x="150" y="138"/>
                </a:lnTo>
                <a:close/>
                <a:moveTo>
                  <a:pt x="88" y="138"/>
                </a:moveTo>
                <a:lnTo>
                  <a:pt x="113" y="138"/>
                </a:lnTo>
                <a:lnTo>
                  <a:pt x="113" y="150"/>
                </a:lnTo>
                <a:lnTo>
                  <a:pt x="88" y="150"/>
                </a:lnTo>
                <a:lnTo>
                  <a:pt x="88" y="138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1BF2F02-B9F0-6599-1B47-9C1049B8EDF7}"/>
              </a:ext>
            </a:extLst>
          </p:cNvPr>
          <p:cNvGrpSpPr>
            <a:grpSpLocks noChangeAspect="1"/>
          </p:cNvGrpSpPr>
          <p:nvPr/>
        </p:nvGrpSpPr>
        <p:grpSpPr>
          <a:xfrm>
            <a:off x="1510301" y="2279785"/>
            <a:ext cx="3814116" cy="3814116"/>
            <a:chOff x="4191000" y="2196353"/>
            <a:chExt cx="3810000" cy="3810000"/>
          </a:xfrm>
        </p:grpSpPr>
        <p:sp>
          <p:nvSpPr>
            <p:cNvPr id="82" name="Arc 81">
              <a:extLst>
                <a:ext uri="{FF2B5EF4-FFF2-40B4-BE49-F238E27FC236}">
                  <a16:creationId xmlns:a16="http://schemas.microsoft.com/office/drawing/2014/main" id="{9A856BA9-6CC1-F26F-4C37-7D5599A067BB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00000"/>
                <a:gd name="adj2" fmla="val 3085714"/>
              </a:avLst>
            </a:prstGeom>
            <a:noFill/>
            <a:ln w="76200">
              <a:solidFill>
                <a:schemeClr val="accent4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Arc 82">
              <a:extLst>
                <a:ext uri="{FF2B5EF4-FFF2-40B4-BE49-F238E27FC236}">
                  <a16:creationId xmlns:a16="http://schemas.microsoft.com/office/drawing/2014/main" id="{A02DABE7-1C3C-AFFF-C015-68BE4B39D23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3685714"/>
                <a:gd name="adj2" fmla="val 6171428"/>
              </a:avLst>
            </a:prstGeom>
            <a:noFill/>
            <a:ln w="76200">
              <a:solidFill>
                <a:schemeClr val="accent5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Arc 83">
              <a:extLst>
                <a:ext uri="{FF2B5EF4-FFF2-40B4-BE49-F238E27FC236}">
                  <a16:creationId xmlns:a16="http://schemas.microsoft.com/office/drawing/2014/main" id="{B512DA9A-A773-53FD-C9ED-13A7D19E2287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771428"/>
                <a:gd name="adj2" fmla="val 9257143"/>
              </a:avLst>
            </a:prstGeom>
            <a:noFill/>
            <a:ln w="76200">
              <a:solidFill>
                <a:schemeClr val="accent6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Arc 84">
              <a:extLst>
                <a:ext uri="{FF2B5EF4-FFF2-40B4-BE49-F238E27FC236}">
                  <a16:creationId xmlns:a16="http://schemas.microsoft.com/office/drawing/2014/main" id="{C421D3EE-9E9A-513A-028F-55F8AA6AF03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9857143"/>
                <a:gd name="adj2" fmla="val 12342857"/>
              </a:avLst>
            </a:prstGeom>
            <a:noFill/>
            <a:ln w="76200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Arc 85">
              <a:extLst>
                <a:ext uri="{FF2B5EF4-FFF2-40B4-BE49-F238E27FC236}">
                  <a16:creationId xmlns:a16="http://schemas.microsoft.com/office/drawing/2014/main" id="{AFC39BC3-3E63-75D3-C664-5376038C978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2942857"/>
                <a:gd name="adj2" fmla="val 15428571"/>
              </a:avLst>
            </a:prstGeom>
            <a:noFill/>
            <a:ln w="76200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Arc 86">
              <a:extLst>
                <a:ext uri="{FF2B5EF4-FFF2-40B4-BE49-F238E27FC236}">
                  <a16:creationId xmlns:a16="http://schemas.microsoft.com/office/drawing/2014/main" id="{DB47D097-7C00-BF51-3915-2B4C8C78F54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6028571"/>
                <a:gd name="adj2" fmla="val 18514286"/>
              </a:avLst>
            </a:prstGeom>
            <a:noFill/>
            <a:ln w="76200">
              <a:solidFill>
                <a:schemeClr val="accent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Arc 87">
              <a:extLst>
                <a:ext uri="{FF2B5EF4-FFF2-40B4-BE49-F238E27FC236}">
                  <a16:creationId xmlns:a16="http://schemas.microsoft.com/office/drawing/2014/main" id="{EF8C3815-4EAA-1549-B601-C321BF49FC98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9114286"/>
                <a:gd name="adj2" fmla="val 0"/>
              </a:avLst>
            </a:prstGeom>
            <a:noFill/>
            <a:ln w="76200">
              <a:solidFill>
                <a:schemeClr val="accent3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9" name="Freeform 333">
            <a:extLst>
              <a:ext uri="{FF2B5EF4-FFF2-40B4-BE49-F238E27FC236}">
                <a16:creationId xmlns:a16="http://schemas.microsoft.com/office/drawing/2014/main" id="{85350647-F55C-DF1B-3A50-4D9ABF0496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119" y="3004383"/>
            <a:ext cx="428902" cy="286289"/>
          </a:xfrm>
          <a:custGeom>
            <a:avLst/>
            <a:gdLst>
              <a:gd name="T0" fmla="*/ 2147483646 w 4165"/>
              <a:gd name="T1" fmla="*/ 2147483646 h 2777"/>
              <a:gd name="T2" fmla="*/ 2147483646 w 4165"/>
              <a:gd name="T3" fmla="*/ 2147483646 h 2777"/>
              <a:gd name="T4" fmla="*/ 2147483646 w 4165"/>
              <a:gd name="T5" fmla="*/ 0 h 2777"/>
              <a:gd name="T6" fmla="*/ 2147483646 w 4165"/>
              <a:gd name="T7" fmla="*/ 2147483646 h 2777"/>
              <a:gd name="T8" fmla="*/ 0 w 4165"/>
              <a:gd name="T9" fmla="*/ 2147483646 h 2777"/>
              <a:gd name="T10" fmla="*/ 2147483646 w 4165"/>
              <a:gd name="T11" fmla="*/ 2147483646 h 2777"/>
              <a:gd name="T12" fmla="*/ 2147483646 w 4165"/>
              <a:gd name="T13" fmla="*/ 2147483646 h 2777"/>
              <a:gd name="T14" fmla="*/ 2147483646 w 4165"/>
              <a:gd name="T15" fmla="*/ 2147483646 h 2777"/>
              <a:gd name="T16" fmla="*/ 2147483646 w 4165"/>
              <a:gd name="T17" fmla="*/ 2147483646 h 2777"/>
              <a:gd name="T18" fmla="*/ 2147483646 w 4165"/>
              <a:gd name="T19" fmla="*/ 2147483646 h 2777"/>
              <a:gd name="T20" fmla="*/ 2147483646 w 4165"/>
              <a:gd name="T21" fmla="*/ 2147483646 h 2777"/>
              <a:gd name="T22" fmla="*/ 2147483646 w 4165"/>
              <a:gd name="T23" fmla="*/ 2147483646 h 2777"/>
              <a:gd name="T24" fmla="*/ 2147483646 w 4165"/>
              <a:gd name="T25" fmla="*/ 2147483646 h 2777"/>
              <a:gd name="T26" fmla="*/ 2147483646 w 4165"/>
              <a:gd name="T27" fmla="*/ 2147483646 h 2777"/>
              <a:gd name="T28" fmla="*/ 2147483646 w 4165"/>
              <a:gd name="T29" fmla="*/ 2147483646 h 2777"/>
              <a:gd name="T30" fmla="*/ 2147483646 w 4165"/>
              <a:gd name="T31" fmla="*/ 2147483646 h 2777"/>
              <a:gd name="T32" fmla="*/ 2147483646 w 4165"/>
              <a:gd name="T33" fmla="*/ 2147483646 h 2777"/>
              <a:gd name="T34" fmla="*/ 2147483646 w 4165"/>
              <a:gd name="T35" fmla="*/ 2147483646 h 27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4165" h="2777">
                <a:moveTo>
                  <a:pt x="3368" y="1041"/>
                </a:moveTo>
                <a:lnTo>
                  <a:pt x="3368" y="1041"/>
                </a:lnTo>
                <a:cubicBezTo>
                  <a:pt x="3245" y="454"/>
                  <a:pt x="2724" y="0"/>
                  <a:pt x="2082" y="0"/>
                </a:cubicBezTo>
                <a:cubicBezTo>
                  <a:pt x="1582" y="0"/>
                  <a:pt x="1148" y="281"/>
                  <a:pt x="939" y="694"/>
                </a:cubicBezTo>
                <a:cubicBezTo>
                  <a:pt x="403" y="766"/>
                  <a:pt x="0" y="1200"/>
                  <a:pt x="0" y="1735"/>
                </a:cubicBezTo>
                <a:cubicBezTo>
                  <a:pt x="0" y="2311"/>
                  <a:pt x="470" y="2776"/>
                  <a:pt x="1041" y="2776"/>
                </a:cubicBezTo>
                <a:cubicBezTo>
                  <a:pt x="3296" y="2776"/>
                  <a:pt x="3296" y="2776"/>
                  <a:pt x="3296" y="2776"/>
                </a:cubicBezTo>
                <a:cubicBezTo>
                  <a:pt x="3786" y="2776"/>
                  <a:pt x="4164" y="2398"/>
                  <a:pt x="4164" y="1908"/>
                </a:cubicBezTo>
                <a:cubicBezTo>
                  <a:pt x="4164" y="1459"/>
                  <a:pt x="3801" y="1077"/>
                  <a:pt x="3368" y="1041"/>
                </a:cubicBezTo>
                <a:close/>
                <a:moveTo>
                  <a:pt x="2949" y="1561"/>
                </a:moveTo>
                <a:lnTo>
                  <a:pt x="2949" y="1561"/>
                </a:lnTo>
                <a:cubicBezTo>
                  <a:pt x="2082" y="2429"/>
                  <a:pt x="2082" y="2429"/>
                  <a:pt x="2082" y="2429"/>
                </a:cubicBezTo>
                <a:cubicBezTo>
                  <a:pt x="1215" y="1561"/>
                  <a:pt x="1215" y="1561"/>
                  <a:pt x="1215" y="1561"/>
                </a:cubicBezTo>
                <a:cubicBezTo>
                  <a:pt x="1735" y="1561"/>
                  <a:pt x="1735" y="1561"/>
                  <a:pt x="1735" y="1561"/>
                </a:cubicBezTo>
                <a:cubicBezTo>
                  <a:pt x="1735" y="868"/>
                  <a:pt x="1735" y="868"/>
                  <a:pt x="1735" y="868"/>
                </a:cubicBezTo>
                <a:cubicBezTo>
                  <a:pt x="2428" y="868"/>
                  <a:pt x="2428" y="868"/>
                  <a:pt x="2428" y="868"/>
                </a:cubicBezTo>
                <a:cubicBezTo>
                  <a:pt x="2428" y="1561"/>
                  <a:pt x="2428" y="1561"/>
                  <a:pt x="2428" y="1561"/>
                </a:cubicBezTo>
                <a:lnTo>
                  <a:pt x="2949" y="15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90" name="Group 84">
            <a:extLst>
              <a:ext uri="{FF2B5EF4-FFF2-40B4-BE49-F238E27FC236}">
                <a16:creationId xmlns:a16="http://schemas.microsoft.com/office/drawing/2014/main" id="{0D0614F4-7E4D-494E-45C0-F4F3D9BDE407}"/>
              </a:ext>
            </a:extLst>
          </p:cNvPr>
          <p:cNvGrpSpPr>
            <a:grpSpLocks/>
          </p:cNvGrpSpPr>
          <p:nvPr/>
        </p:nvGrpSpPr>
        <p:grpSpPr bwMode="auto">
          <a:xfrm>
            <a:off x="3605008" y="4995229"/>
            <a:ext cx="381388" cy="347148"/>
            <a:chOff x="1463675" y="3657600"/>
            <a:chExt cx="1270000" cy="1271588"/>
          </a:xfrm>
          <a:solidFill>
            <a:schemeClr val="accent1"/>
          </a:solidFill>
        </p:grpSpPr>
        <p:sp>
          <p:nvSpPr>
            <p:cNvPr id="91" name="Freeform 349">
              <a:extLst>
                <a:ext uri="{FF2B5EF4-FFF2-40B4-BE49-F238E27FC236}">
                  <a16:creationId xmlns:a16="http://schemas.microsoft.com/office/drawing/2014/main" id="{C07C9F79-4181-B873-712E-CE33A52766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3675" y="3657600"/>
              <a:ext cx="762000" cy="1186815"/>
            </a:xfrm>
            <a:custGeom>
              <a:avLst/>
              <a:gdLst>
                <a:gd name="T0" fmla="*/ 2147483646 w 2117"/>
                <a:gd name="T1" fmla="*/ 2147483646 h 3293"/>
                <a:gd name="T2" fmla="*/ 2147483646 w 2117"/>
                <a:gd name="T3" fmla="*/ 2147483646 h 3293"/>
                <a:gd name="T4" fmla="*/ 2147483646 w 2117"/>
                <a:gd name="T5" fmla="*/ 2147483646 h 3293"/>
                <a:gd name="T6" fmla="*/ 2147483646 w 2117"/>
                <a:gd name="T7" fmla="*/ 2147483646 h 3293"/>
                <a:gd name="T8" fmla="*/ 2147483646 w 2117"/>
                <a:gd name="T9" fmla="*/ 2147483646 h 3293"/>
                <a:gd name="T10" fmla="*/ 2147483646 w 2117"/>
                <a:gd name="T11" fmla="*/ 2147483646 h 3293"/>
                <a:gd name="T12" fmla="*/ 2147483646 w 2117"/>
                <a:gd name="T13" fmla="*/ 2147483646 h 3293"/>
                <a:gd name="T14" fmla="*/ 2147483646 w 2117"/>
                <a:gd name="T15" fmla="*/ 2147483646 h 3293"/>
                <a:gd name="T16" fmla="*/ 2147483646 w 2117"/>
                <a:gd name="T17" fmla="*/ 2147483646 h 3293"/>
                <a:gd name="T18" fmla="*/ 2147483646 w 2117"/>
                <a:gd name="T19" fmla="*/ 2147483646 h 3293"/>
                <a:gd name="T20" fmla="*/ 2147483646 w 2117"/>
                <a:gd name="T21" fmla="*/ 2147483646 h 3293"/>
                <a:gd name="T22" fmla="*/ 2147483646 w 2117"/>
                <a:gd name="T23" fmla="*/ 0 h 3293"/>
                <a:gd name="T24" fmla="*/ 2147483646 w 2117"/>
                <a:gd name="T25" fmla="*/ 2147483646 h 3293"/>
                <a:gd name="T26" fmla="*/ 2147483646 w 2117"/>
                <a:gd name="T27" fmla="*/ 2147483646 h 3293"/>
                <a:gd name="T28" fmla="*/ 2147483646 w 2117"/>
                <a:gd name="T29" fmla="*/ 2147483646 h 3293"/>
                <a:gd name="T30" fmla="*/ 2147483646 w 2117"/>
                <a:gd name="T31" fmla="*/ 2147483646 h 3293"/>
                <a:gd name="T32" fmla="*/ 2147483646 w 2117"/>
                <a:gd name="T33" fmla="*/ 2147483646 h 3293"/>
                <a:gd name="T34" fmla="*/ 2147483646 w 2117"/>
                <a:gd name="T35" fmla="*/ 2147483646 h 3293"/>
                <a:gd name="T36" fmla="*/ 2147483646 w 2117"/>
                <a:gd name="T37" fmla="*/ 2147483646 h 3293"/>
                <a:gd name="T38" fmla="*/ 2147483646 w 2117"/>
                <a:gd name="T39" fmla="*/ 2147483646 h 3293"/>
                <a:gd name="T40" fmla="*/ 2147483646 w 2117"/>
                <a:gd name="T41" fmla="*/ 2147483646 h 3293"/>
                <a:gd name="T42" fmla="*/ 2147483646 w 2117"/>
                <a:gd name="T43" fmla="*/ 2147483646 h 3293"/>
                <a:gd name="T44" fmla="*/ 0 w 2117"/>
                <a:gd name="T45" fmla="*/ 2147483646 h 3293"/>
                <a:gd name="T46" fmla="*/ 0 w 2117"/>
                <a:gd name="T47" fmla="*/ 2147483646 h 3293"/>
                <a:gd name="T48" fmla="*/ 2147483646 w 2117"/>
                <a:gd name="T49" fmla="*/ 2147483646 h 3293"/>
                <a:gd name="T50" fmla="*/ 2147483646 w 2117"/>
                <a:gd name="T51" fmla="*/ 2147483646 h 3293"/>
                <a:gd name="T52" fmla="*/ 2147483646 w 2117"/>
                <a:gd name="T53" fmla="*/ 2147483646 h 3293"/>
                <a:gd name="T54" fmla="*/ 2147483646 w 2117"/>
                <a:gd name="T55" fmla="*/ 2147483646 h 329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17" h="3293">
                  <a:moveTo>
                    <a:pt x="2016" y="2296"/>
                  </a:moveTo>
                  <a:lnTo>
                    <a:pt x="2016" y="2296"/>
                  </a:lnTo>
                  <a:cubicBezTo>
                    <a:pt x="1904" y="2234"/>
                    <a:pt x="1904" y="2234"/>
                    <a:pt x="1904" y="2234"/>
                  </a:cubicBezTo>
                  <a:cubicBezTo>
                    <a:pt x="1854" y="2203"/>
                    <a:pt x="1823" y="2153"/>
                    <a:pt x="1823" y="2097"/>
                  </a:cubicBezTo>
                  <a:cubicBezTo>
                    <a:pt x="1823" y="1904"/>
                    <a:pt x="1823" y="1904"/>
                    <a:pt x="1823" y="1904"/>
                  </a:cubicBezTo>
                  <a:cubicBezTo>
                    <a:pt x="1860" y="1848"/>
                    <a:pt x="1972" y="1687"/>
                    <a:pt x="2029" y="1475"/>
                  </a:cubicBezTo>
                  <a:cubicBezTo>
                    <a:pt x="2085" y="1432"/>
                    <a:pt x="2116" y="1363"/>
                    <a:pt x="2116" y="1295"/>
                  </a:cubicBezTo>
                  <a:cubicBezTo>
                    <a:pt x="2116" y="1058"/>
                    <a:pt x="2116" y="1058"/>
                    <a:pt x="2116" y="1058"/>
                  </a:cubicBezTo>
                  <a:cubicBezTo>
                    <a:pt x="2116" y="1002"/>
                    <a:pt x="2097" y="946"/>
                    <a:pt x="2060" y="903"/>
                  </a:cubicBezTo>
                  <a:cubicBezTo>
                    <a:pt x="2060" y="591"/>
                    <a:pt x="2060" y="591"/>
                    <a:pt x="2060" y="591"/>
                  </a:cubicBezTo>
                  <a:cubicBezTo>
                    <a:pt x="2060" y="560"/>
                    <a:pt x="2072" y="367"/>
                    <a:pt x="1935" y="205"/>
                  </a:cubicBezTo>
                  <a:cubicBezTo>
                    <a:pt x="1811" y="69"/>
                    <a:pt x="1619" y="0"/>
                    <a:pt x="1351" y="0"/>
                  </a:cubicBezTo>
                  <a:cubicBezTo>
                    <a:pt x="1083" y="0"/>
                    <a:pt x="890" y="69"/>
                    <a:pt x="772" y="205"/>
                  </a:cubicBezTo>
                  <a:cubicBezTo>
                    <a:pt x="629" y="367"/>
                    <a:pt x="641" y="560"/>
                    <a:pt x="647" y="591"/>
                  </a:cubicBezTo>
                  <a:cubicBezTo>
                    <a:pt x="647" y="903"/>
                    <a:pt x="647" y="903"/>
                    <a:pt x="647" y="903"/>
                  </a:cubicBezTo>
                  <a:cubicBezTo>
                    <a:pt x="610" y="946"/>
                    <a:pt x="585" y="1002"/>
                    <a:pt x="585" y="1058"/>
                  </a:cubicBezTo>
                  <a:cubicBezTo>
                    <a:pt x="585" y="1295"/>
                    <a:pt x="585" y="1295"/>
                    <a:pt x="585" y="1295"/>
                  </a:cubicBezTo>
                  <a:cubicBezTo>
                    <a:pt x="585" y="1363"/>
                    <a:pt x="623" y="1432"/>
                    <a:pt x="679" y="1475"/>
                  </a:cubicBezTo>
                  <a:cubicBezTo>
                    <a:pt x="728" y="1687"/>
                    <a:pt x="840" y="1848"/>
                    <a:pt x="884" y="1904"/>
                  </a:cubicBezTo>
                  <a:cubicBezTo>
                    <a:pt x="884" y="2097"/>
                    <a:pt x="884" y="2097"/>
                    <a:pt x="884" y="2097"/>
                  </a:cubicBezTo>
                  <a:cubicBezTo>
                    <a:pt x="884" y="2153"/>
                    <a:pt x="853" y="2203"/>
                    <a:pt x="803" y="2234"/>
                  </a:cubicBezTo>
                  <a:cubicBezTo>
                    <a:pt x="274" y="2520"/>
                    <a:pt x="274" y="2520"/>
                    <a:pt x="274" y="2520"/>
                  </a:cubicBezTo>
                  <a:cubicBezTo>
                    <a:pt x="106" y="2614"/>
                    <a:pt x="0" y="2788"/>
                    <a:pt x="0" y="2987"/>
                  </a:cubicBezTo>
                  <a:cubicBezTo>
                    <a:pt x="0" y="3236"/>
                    <a:pt x="0" y="3236"/>
                    <a:pt x="0" y="3236"/>
                  </a:cubicBezTo>
                  <a:cubicBezTo>
                    <a:pt x="0" y="3267"/>
                    <a:pt x="25" y="3292"/>
                    <a:pt x="56" y="3292"/>
                  </a:cubicBezTo>
                  <a:cubicBezTo>
                    <a:pt x="2060" y="3292"/>
                    <a:pt x="2060" y="3292"/>
                    <a:pt x="2060" y="3292"/>
                  </a:cubicBezTo>
                  <a:cubicBezTo>
                    <a:pt x="1947" y="3143"/>
                    <a:pt x="1879" y="2962"/>
                    <a:pt x="1879" y="2763"/>
                  </a:cubicBezTo>
                  <a:cubicBezTo>
                    <a:pt x="1879" y="2589"/>
                    <a:pt x="1929" y="2433"/>
                    <a:pt x="2016" y="229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92" name="Freeform 350">
              <a:extLst>
                <a:ext uri="{FF2B5EF4-FFF2-40B4-BE49-F238E27FC236}">
                  <a16:creationId xmlns:a16="http://schemas.microsoft.com/office/drawing/2014/main" id="{366454E1-E8EF-249D-99EB-1B9FB92446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1773" y="4376597"/>
              <a:ext cx="551902" cy="552591"/>
            </a:xfrm>
            <a:custGeom>
              <a:avLst/>
              <a:gdLst>
                <a:gd name="T0" fmla="*/ 2147483646 w 1533"/>
                <a:gd name="T1" fmla="*/ 0 h 1533"/>
                <a:gd name="T2" fmla="*/ 2147483646 w 1533"/>
                <a:gd name="T3" fmla="*/ 0 h 1533"/>
                <a:gd name="T4" fmla="*/ 0 w 1533"/>
                <a:gd name="T5" fmla="*/ 2147483646 h 1533"/>
                <a:gd name="T6" fmla="*/ 2147483646 w 1533"/>
                <a:gd name="T7" fmla="*/ 2147483646 h 1533"/>
                <a:gd name="T8" fmla="*/ 2147483646 w 1533"/>
                <a:gd name="T9" fmla="*/ 2147483646 h 1533"/>
                <a:gd name="T10" fmla="*/ 2147483646 w 1533"/>
                <a:gd name="T11" fmla="*/ 0 h 1533"/>
                <a:gd name="T12" fmla="*/ 2147483646 w 1533"/>
                <a:gd name="T13" fmla="*/ 2147483646 h 1533"/>
                <a:gd name="T14" fmla="*/ 2147483646 w 1533"/>
                <a:gd name="T15" fmla="*/ 2147483646 h 1533"/>
                <a:gd name="T16" fmla="*/ 2147483646 w 1533"/>
                <a:gd name="T17" fmla="*/ 2147483646 h 1533"/>
                <a:gd name="T18" fmla="*/ 2147483646 w 1533"/>
                <a:gd name="T19" fmla="*/ 2147483646 h 1533"/>
                <a:gd name="T20" fmla="*/ 2147483646 w 1533"/>
                <a:gd name="T21" fmla="*/ 2147483646 h 1533"/>
                <a:gd name="T22" fmla="*/ 2147483646 w 1533"/>
                <a:gd name="T23" fmla="*/ 2147483646 h 1533"/>
                <a:gd name="T24" fmla="*/ 2147483646 w 1533"/>
                <a:gd name="T25" fmla="*/ 2147483646 h 1533"/>
                <a:gd name="T26" fmla="*/ 2147483646 w 1533"/>
                <a:gd name="T27" fmla="*/ 2147483646 h 1533"/>
                <a:gd name="T28" fmla="*/ 2147483646 w 1533"/>
                <a:gd name="T29" fmla="*/ 2147483646 h 1533"/>
                <a:gd name="T30" fmla="*/ 2147483646 w 1533"/>
                <a:gd name="T31" fmla="*/ 2147483646 h 1533"/>
                <a:gd name="T32" fmla="*/ 2147483646 w 1533"/>
                <a:gd name="T33" fmla="*/ 2147483646 h 1533"/>
                <a:gd name="T34" fmla="*/ 2147483646 w 1533"/>
                <a:gd name="T35" fmla="*/ 2147483646 h 1533"/>
                <a:gd name="T36" fmla="*/ 2147483646 w 1533"/>
                <a:gd name="T37" fmla="*/ 2147483646 h 1533"/>
                <a:gd name="T38" fmla="*/ 2147483646 w 1533"/>
                <a:gd name="T39" fmla="*/ 2147483646 h 1533"/>
                <a:gd name="T40" fmla="*/ 2147483646 w 1533"/>
                <a:gd name="T41" fmla="*/ 2147483646 h 1533"/>
                <a:gd name="T42" fmla="*/ 2147483646 w 1533"/>
                <a:gd name="T43" fmla="*/ 2147483646 h 1533"/>
                <a:gd name="T44" fmla="*/ 2147483646 w 1533"/>
                <a:gd name="T45" fmla="*/ 2147483646 h 1533"/>
                <a:gd name="T46" fmla="*/ 2147483646 w 1533"/>
                <a:gd name="T47" fmla="*/ 2147483646 h 15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533" h="1533">
                  <a:moveTo>
                    <a:pt x="766" y="0"/>
                  </a:moveTo>
                  <a:lnTo>
                    <a:pt x="766" y="0"/>
                  </a:lnTo>
                  <a:cubicBezTo>
                    <a:pt x="343" y="0"/>
                    <a:pt x="0" y="343"/>
                    <a:pt x="0" y="766"/>
                  </a:cubicBezTo>
                  <a:cubicBezTo>
                    <a:pt x="0" y="1189"/>
                    <a:pt x="343" y="1532"/>
                    <a:pt x="766" y="1532"/>
                  </a:cubicBezTo>
                  <a:cubicBezTo>
                    <a:pt x="1189" y="1532"/>
                    <a:pt x="1532" y="1189"/>
                    <a:pt x="1532" y="766"/>
                  </a:cubicBezTo>
                  <a:cubicBezTo>
                    <a:pt x="1532" y="343"/>
                    <a:pt x="1189" y="0"/>
                    <a:pt x="766" y="0"/>
                  </a:cubicBezTo>
                  <a:close/>
                  <a:moveTo>
                    <a:pt x="1121" y="822"/>
                  </a:moveTo>
                  <a:lnTo>
                    <a:pt x="1121" y="822"/>
                  </a:lnTo>
                  <a:cubicBezTo>
                    <a:pt x="822" y="822"/>
                    <a:pt x="822" y="822"/>
                    <a:pt x="822" y="822"/>
                  </a:cubicBezTo>
                  <a:cubicBezTo>
                    <a:pt x="822" y="1121"/>
                    <a:pt x="822" y="1121"/>
                    <a:pt x="822" y="1121"/>
                  </a:cubicBezTo>
                  <a:cubicBezTo>
                    <a:pt x="822" y="1152"/>
                    <a:pt x="797" y="1177"/>
                    <a:pt x="766" y="1177"/>
                  </a:cubicBezTo>
                  <a:cubicBezTo>
                    <a:pt x="735" y="1177"/>
                    <a:pt x="710" y="1152"/>
                    <a:pt x="710" y="1121"/>
                  </a:cubicBezTo>
                  <a:cubicBezTo>
                    <a:pt x="710" y="822"/>
                    <a:pt x="710" y="822"/>
                    <a:pt x="710" y="822"/>
                  </a:cubicBezTo>
                  <a:cubicBezTo>
                    <a:pt x="411" y="822"/>
                    <a:pt x="411" y="822"/>
                    <a:pt x="411" y="822"/>
                  </a:cubicBezTo>
                  <a:cubicBezTo>
                    <a:pt x="380" y="822"/>
                    <a:pt x="355" y="797"/>
                    <a:pt x="355" y="766"/>
                  </a:cubicBezTo>
                  <a:cubicBezTo>
                    <a:pt x="355" y="735"/>
                    <a:pt x="380" y="710"/>
                    <a:pt x="411" y="710"/>
                  </a:cubicBezTo>
                  <a:cubicBezTo>
                    <a:pt x="710" y="710"/>
                    <a:pt x="710" y="710"/>
                    <a:pt x="710" y="710"/>
                  </a:cubicBezTo>
                  <a:cubicBezTo>
                    <a:pt x="710" y="411"/>
                    <a:pt x="710" y="411"/>
                    <a:pt x="710" y="411"/>
                  </a:cubicBezTo>
                  <a:cubicBezTo>
                    <a:pt x="710" y="380"/>
                    <a:pt x="735" y="355"/>
                    <a:pt x="766" y="355"/>
                  </a:cubicBezTo>
                  <a:cubicBezTo>
                    <a:pt x="797" y="355"/>
                    <a:pt x="822" y="380"/>
                    <a:pt x="822" y="411"/>
                  </a:cubicBezTo>
                  <a:cubicBezTo>
                    <a:pt x="822" y="710"/>
                    <a:pt x="822" y="710"/>
                    <a:pt x="822" y="710"/>
                  </a:cubicBezTo>
                  <a:cubicBezTo>
                    <a:pt x="1121" y="710"/>
                    <a:pt x="1121" y="710"/>
                    <a:pt x="1121" y="710"/>
                  </a:cubicBezTo>
                  <a:cubicBezTo>
                    <a:pt x="1152" y="710"/>
                    <a:pt x="1177" y="735"/>
                    <a:pt x="1177" y="766"/>
                  </a:cubicBezTo>
                  <a:cubicBezTo>
                    <a:pt x="1177" y="797"/>
                    <a:pt x="1152" y="822"/>
                    <a:pt x="1121" y="82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5F2FD237-EC9B-1735-0127-E689647A3D4A}"/>
              </a:ext>
            </a:extLst>
          </p:cNvPr>
          <p:cNvSpPr txBox="1"/>
          <p:nvPr/>
        </p:nvSpPr>
        <p:spPr>
          <a:xfrm>
            <a:off x="3924582" y="2041375"/>
            <a:ext cx="1220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onversion</a:t>
            </a:r>
          </a:p>
        </p:txBody>
      </p:sp>
    </p:spTree>
    <p:extLst>
      <p:ext uri="{BB962C8B-B14F-4D97-AF65-F5344CB8AC3E}">
        <p14:creationId xmlns:p14="http://schemas.microsoft.com/office/powerpoint/2010/main" val="48622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571DD-9E1E-652E-587D-45498B36C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97765B-57BE-A8BA-733C-9C1107397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F06C94-D2B4-680E-6810-A6886B7AE59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E18043-E0FA-BA33-81F2-AEC34E9518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743F455-35DE-ABF3-3000-278B73111A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531917"/>
              </p:ext>
            </p:extLst>
          </p:nvPr>
        </p:nvGraphicFramePr>
        <p:xfrm>
          <a:off x="6096000" y="1353645"/>
          <a:ext cx="5540554" cy="48827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16463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4024091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58081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ONE PIECE PAPER WRAP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ape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ctangular or squa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ong edges fold, short edges seal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728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8188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0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71616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minimum of 25mm high, less than 40mm from the bottom and can run along the long edge and can be on the front or back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44002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seal if inserts included, spot or continuous if no insert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57659A8-8126-C6FB-7BA4-42A62661E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785659"/>
              </p:ext>
            </p:extLst>
          </p:nvPr>
        </p:nvGraphicFramePr>
        <p:xfrm>
          <a:off x="578599" y="1353645"/>
          <a:ext cx="5403102" cy="4840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78842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24260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40476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CHINEABLE POSTCARD (2/3PLY)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 ply thicknes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90283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ximum weight 100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20gsm – 150gsm (150gsm recommended)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ply = minimum of 0.18mm, 3 ply = minimum of 0.27mm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Continuous seal of glue on unfolded edg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tt is prefer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2022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4EC797-E74F-5E97-BB2E-23F079223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730EEC-55A4-3426-896E-6E81D51F3F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2D9181-B9E3-3F33-1245-FD9AD5DE235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68581-03AD-0981-DEE6-8AD4DA1945F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B225A35-5154-0F32-F797-75422A8CF2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249747"/>
              </p:ext>
            </p:extLst>
          </p:nvPr>
        </p:nvGraphicFramePr>
        <p:xfrm>
          <a:off x="6204030" y="1644925"/>
          <a:ext cx="5429170" cy="445356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85977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3193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2284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PON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Paper booklet only, no more than 85mm x 130mm, affixed to the insid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Rectangula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3 folds requi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65mm x 145mm (+ / - 5mm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No more than 2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inimum 115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olded 3 tim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GB" sz="1400" dirty="0"/>
                        <a:t>Continuous seal of glue on unfolded edg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06CB225-FBB7-ED29-4B4F-9548E3A453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621844"/>
              </p:ext>
            </p:extLst>
          </p:nvPr>
        </p:nvGraphicFramePr>
        <p:xfrm>
          <a:off x="543875" y="1644926"/>
          <a:ext cx="5437825" cy="445356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88346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9479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803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FEATURE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APE</a:t>
                      </a:r>
                    </a:p>
                  </a:txBody>
                  <a:tcPr>
                    <a:solidFill>
                      <a:srgbClr val="F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tangular or square</a:t>
                      </a:r>
                      <a:endParaRPr lang="en-GB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of 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3555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>
                    <a:solidFill>
                      <a:srgbClr val="F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614309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>
                    <a:solidFill>
                      <a:srgbClr val="F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50gsm – 19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>
                    <a:solidFill>
                      <a:srgbClr val="FCECE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13mm – 0.175mm recommended minimum</a:t>
                      </a:r>
                      <a:endParaRPr lang="en-GB" sz="1400" dirty="0"/>
                    </a:p>
                  </a:txBody>
                  <a:tcPr>
                    <a:solidFill>
                      <a:srgbClr val="F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>
                    <a:solidFill>
                      <a:srgbClr val="F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or spo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8888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63CBA-89F1-52C3-87A8-605AAF08D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if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A09028-2A77-102E-4F24-977EC6859B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inish for digitally printed postcard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36A67-EEF1-FC6E-0E96-30472F292D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2366DD-353A-553E-ED68-26C43A388B2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When digital printing is used for mail the pigment may rub off , transfer to adjacent surfaces, crack and become marked both during the manual and automated handling processes.</a:t>
            </a:r>
          </a:p>
          <a:p>
            <a:r>
              <a:rPr lang="en-GB" dirty="0"/>
              <a:t>The application of an ultra-violet (UV) cured varnish has been found to reduce the wear to digitally printed mail items.</a:t>
            </a:r>
          </a:p>
          <a:p>
            <a:r>
              <a:rPr lang="en-GB" dirty="0"/>
              <a:t>This provides a protective coating over the pigment.  It should only be applied to the non-addressed side of the postcard, as the characteristics of the varnish may make the mail unmachinable, if applied to both sides.</a:t>
            </a:r>
          </a:p>
          <a:p>
            <a:r>
              <a:rPr lang="en-GB" dirty="0"/>
              <a:t>The pressure exerted on the postcard during automated processing may cause colour offset on digitally printed items.  Therefore, it is recommended that there should be no off-set print or colour transfer when the item is exposed to a pressure of 3.43kPa (35g per cm2).  This equates to a weight of 8.5kg spread over the surface of a DL envelope, and 13.5kg for C5 envelopes.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23B58D-7A52-DEE6-B3B5-4CD5C406D9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875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7E9F9D-0002-DD16-A0DE-F3D23DA46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6F4148-6BF7-A89E-FDBC-B0DB2B9CD48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4892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*internet*wireframe*technology*digital*computer*website*web*connection*browsing*search*goo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937AC5-93BF-49A6-B607-CC4F4B0ECEB8}">
  <ds:schemaRefs>
    <ds:schemaRef ds:uri="http://schemas.microsoft.com/office/2006/documentManagement/types"/>
    <ds:schemaRef ds:uri="http://schemas.microsoft.com/office/infopath/2007/PartnerControls"/>
    <ds:schemaRef ds:uri="707d9dac-b3e0-4010-a31f-c9f487ae09b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7</Words>
  <Application>Microsoft Office PowerPoint</Application>
  <PresentationFormat>Widescreen</PresentationFormat>
  <Paragraphs>145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Impact</vt:lpstr>
      <vt:lpstr>Wingdings</vt:lpstr>
      <vt:lpstr>Office Theme</vt:lpstr>
      <vt:lpstr>MACHINEABLE POSTCARDS AND ONE PIECE MAILING GUIDE WITH TEST AND INNOVATE</vt:lpstr>
      <vt:lpstr>Advertising mail test &amp; innovate</vt:lpstr>
      <vt:lpstr>Mail gets you noticed</vt:lpstr>
      <vt:lpstr>Postcards</vt:lpstr>
      <vt:lpstr>Create a customer journey online to physical mail item</vt:lpstr>
      <vt:lpstr>The formats to choose from</vt:lpstr>
      <vt:lpstr>The formats to choose from</vt:lpstr>
      <vt:lpstr>Specific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2-20T16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